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4" r:id="rId2"/>
    <p:sldMasterId id="2147483747" r:id="rId3"/>
    <p:sldMasterId id="2147483796" r:id="rId4"/>
    <p:sldMasterId id="2147483832" r:id="rId5"/>
    <p:sldMasterId id="2147483835" r:id="rId6"/>
  </p:sldMasterIdLst>
  <p:notesMasterIdLst>
    <p:notesMasterId r:id="rId26"/>
  </p:notesMasterIdLst>
  <p:sldIdLst>
    <p:sldId id="493" r:id="rId7"/>
    <p:sldId id="494" r:id="rId8"/>
    <p:sldId id="495" r:id="rId9"/>
    <p:sldId id="496" r:id="rId10"/>
    <p:sldId id="497" r:id="rId11"/>
    <p:sldId id="498" r:id="rId12"/>
    <p:sldId id="499" r:id="rId13"/>
    <p:sldId id="500" r:id="rId14"/>
    <p:sldId id="501" r:id="rId15"/>
    <p:sldId id="502" r:id="rId16"/>
    <p:sldId id="503" r:id="rId17"/>
    <p:sldId id="504" r:id="rId18"/>
    <p:sldId id="505" r:id="rId19"/>
    <p:sldId id="506" r:id="rId20"/>
    <p:sldId id="507" r:id="rId21"/>
    <p:sldId id="508" r:id="rId22"/>
    <p:sldId id="509" r:id="rId23"/>
    <p:sldId id="510" r:id="rId24"/>
    <p:sldId id="511" r:id="rId25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1544" autoAdjust="0"/>
    <p:restoredTop sz="94660"/>
  </p:normalViewPr>
  <p:slideViewPr>
    <p:cSldViewPr>
      <p:cViewPr varScale="1">
        <p:scale>
          <a:sx n="87" d="100"/>
          <a:sy n="87" d="100"/>
        </p:scale>
        <p:origin x="-546" y="-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7909667541557297E-2"/>
          <c:y val="5.0925925925925902E-2"/>
          <c:w val="0.53888888888888897"/>
          <c:h val="0.89814814814814803"/>
        </c:manualLayout>
      </c:layout>
      <c:pieChart>
        <c:varyColors val="1"/>
        <c:ser>
          <c:idx val="0"/>
          <c:order val="0"/>
          <c:cat>
            <c:strRef>
              <c:f>Sheet1!$A$3:$A$8</c:f>
              <c:strCache>
                <c:ptCount val="6"/>
                <c:pt idx="0">
                  <c:v>Consultation 9953</c:v>
                </c:pt>
                <c:pt idx="1">
                  <c:v>Virtual consultation 1151</c:v>
                </c:pt>
                <c:pt idx="2">
                  <c:v>Self-test 214</c:v>
                </c:pt>
                <c:pt idx="3">
                  <c:v>Did not wait 78</c:v>
                </c:pt>
                <c:pt idx="4">
                  <c:v>Turned away 28</c:v>
                </c:pt>
                <c:pt idx="5">
                  <c:v>Condoms only 8</c:v>
                </c:pt>
              </c:strCache>
            </c:strRef>
          </c:cat>
          <c:val>
            <c:numRef>
              <c:f>Sheet1!$B$3:$B$8</c:f>
              <c:numCache>
                <c:formatCode>General</c:formatCode>
                <c:ptCount val="6"/>
                <c:pt idx="0">
                  <c:v>9953</c:v>
                </c:pt>
                <c:pt idx="1">
                  <c:v>1551</c:v>
                </c:pt>
                <c:pt idx="2">
                  <c:v>214</c:v>
                </c:pt>
                <c:pt idx="3">
                  <c:v>78</c:v>
                </c:pt>
                <c:pt idx="4">
                  <c:v>28</c:v>
                </c:pt>
                <c:pt idx="5">
                  <c:v>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1249681222288399"/>
          <c:y val="4.7914952140792097E-2"/>
          <c:w val="0.371469615749765"/>
          <c:h val="0.904170095718416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ser>
          <c:idx val="0"/>
          <c:order val="0"/>
          <c:cat>
            <c:strRef>
              <c:f>Sheet1!$A$3:$A$7</c:f>
              <c:strCache>
                <c:ptCount val="5"/>
                <c:pt idx="0">
                  <c:v>White 69.9%</c:v>
                </c:pt>
                <c:pt idx="1">
                  <c:v>Black 5.8%</c:v>
                </c:pt>
                <c:pt idx="2">
                  <c:v>Asian 14.3%</c:v>
                </c:pt>
                <c:pt idx="3">
                  <c:v>Mixed 3.5%</c:v>
                </c:pt>
                <c:pt idx="4">
                  <c:v>Other/unknown 6.6%</c:v>
                </c:pt>
              </c:strCache>
            </c:strRef>
          </c:cat>
          <c:val>
            <c:numRef>
              <c:f>Sheet1!$B$3:$B$7</c:f>
              <c:numCache>
                <c:formatCode>General</c:formatCode>
                <c:ptCount val="5"/>
                <c:pt idx="0">
                  <c:v>3084</c:v>
                </c:pt>
                <c:pt idx="1">
                  <c:v>255</c:v>
                </c:pt>
                <c:pt idx="2">
                  <c:v>632</c:v>
                </c:pt>
                <c:pt idx="3">
                  <c:v>155</c:v>
                </c:pt>
                <c:pt idx="4">
                  <c:v>2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1687300214969099"/>
          <c:y val="7.3224994042789801E-2"/>
          <c:w val="0.36275115581763401"/>
          <c:h val="0.82173616118942605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E8629D-CD5A-4C49-9CDA-EEAC74C8623D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F67B0F-8899-4363-B1FF-1F9166B639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3696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MSM</a:t>
            </a:r>
          </a:p>
          <a:p>
            <a:r>
              <a:rPr lang="en-GB" dirty="0" smtClean="0"/>
              <a:t>75 non injecting</a:t>
            </a:r>
          </a:p>
          <a:p>
            <a:r>
              <a:rPr lang="en-GB" dirty="0" smtClean="0"/>
              <a:t>33 injecting</a:t>
            </a:r>
          </a:p>
          <a:p>
            <a:r>
              <a:rPr lang="en-GB" dirty="0" smtClean="0"/>
              <a:t>86 under influence of drugs</a:t>
            </a:r>
          </a:p>
          <a:p>
            <a:r>
              <a:rPr lang="en-GB" dirty="0" smtClean="0"/>
              <a:t>High proportions of UPSI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3CDC6-1812-463E-BB69-45A0A68F869C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66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93 participants enrolled, 160 screened for HCV &amp; 5 incident HCV infections by 31/12/2013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D4E8C9-AEAF-41EA-8276-D6AF8B00006F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8015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F62045-F460-4BE5-86C4-60F99CF93866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809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FF0000"/>
                </a:solidFill>
              </a:rPr>
              <a:t>Insert age </a:t>
            </a:r>
            <a:r>
              <a:rPr lang="en-GB" dirty="0" err="1" smtClean="0">
                <a:solidFill>
                  <a:srgbClr val="FF0000"/>
                </a:solidFill>
              </a:rPr>
              <a:t>piechart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F62045-F460-4BE5-86C4-60F99CF93866}" type="slidenum">
              <a:rPr lang="en-GB" smtClean="0">
                <a:solidFill>
                  <a:prstClr val="black"/>
                </a:solidFill>
              </a:rPr>
              <a:pPr/>
              <a:t>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4370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4D7381B-9E71-0E48-AD4B-6C8B2D964AA8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76543" y="1884363"/>
            <a:ext cx="6088696" cy="48736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3000">
                <a:solidFill>
                  <a:schemeClr val="tx1"/>
                </a:solidFill>
                <a:latin typeface="Arial Narrow"/>
                <a:cs typeface="Arial Narrow"/>
              </a:defRPr>
            </a:lvl1pPr>
          </a:lstStyle>
          <a:p>
            <a:pPr algn="l"/>
            <a:r>
              <a:rPr lang="en-US" sz="3000" dirty="0" smtClean="0">
                <a:solidFill>
                  <a:schemeClr val="tx1"/>
                </a:solidFill>
                <a:latin typeface="Arial Narrow"/>
                <a:cs typeface="Arial Narrow"/>
              </a:rPr>
              <a:t>TITLE PAGE (30pt Arial Narrow)</a:t>
            </a:r>
            <a:endParaRPr lang="en-US" sz="3000" dirty="0">
              <a:solidFill>
                <a:schemeClr val="tx1"/>
              </a:solidFill>
              <a:latin typeface="Arial Narrow"/>
              <a:cs typeface="Arial Narrow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76542" y="2646680"/>
            <a:ext cx="6088697" cy="487363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800" baseline="0">
                <a:solidFill>
                  <a:srgbClr val="000000"/>
                </a:solidFill>
                <a:latin typeface="Arial Narrow"/>
                <a:cs typeface="Arial Narrow"/>
              </a:defRPr>
            </a:lvl1pPr>
          </a:lstStyle>
          <a:p>
            <a:pPr algn="l"/>
            <a:r>
              <a:rPr lang="en-GB" sz="1800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SUB HEADLINE / PRESENTER (18pt Arial Narrow)</a:t>
            </a:r>
            <a:endParaRPr lang="en-GB" sz="1800" baseline="30000" dirty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967993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15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1990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23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8"/>
          <p:cNvGrpSpPr>
            <a:grpSpLocks/>
          </p:cNvGrpSpPr>
          <p:nvPr userDrawn="1"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6" name="Rectangle 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7" name="Rectangle 17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588224" y="201459"/>
            <a:ext cx="2390676" cy="44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3"/>
          <p:cNvGrpSpPr>
            <a:grpSpLocks/>
          </p:cNvGrpSpPr>
          <p:nvPr userDrawn="1"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10" name="Rectangle 24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1" name="Rectangle 25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Working Draft Text" hidden="1"/>
          <p:cNvSpPr txBox="1">
            <a:spLocks noChangeArrowheads="1"/>
          </p:cNvSpPr>
          <p:nvPr/>
        </p:nvSpPr>
        <p:spPr bwMode="auto">
          <a:xfrm>
            <a:off x="274638" y="254794"/>
            <a:ext cx="99386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8680451" y="-21431"/>
            <a:ext cx="301625" cy="94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Working Draft" hidden="1"/>
          <p:cNvSpPr txBox="1">
            <a:spLocks noChangeArrowheads="1"/>
          </p:cNvSpPr>
          <p:nvPr/>
        </p:nvSpPr>
        <p:spPr bwMode="auto">
          <a:xfrm>
            <a:off x="274638" y="373856"/>
            <a:ext cx="2693045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/>
        </p:nvSpPr>
        <p:spPr bwMode="auto">
          <a:xfrm>
            <a:off x="274639" y="494110"/>
            <a:ext cx="2372444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McK Title Elements" hidden="1"/>
          <p:cNvGrpSpPr>
            <a:grpSpLocks/>
          </p:cNvGrpSpPr>
          <p:nvPr/>
        </p:nvGrpSpPr>
        <p:grpSpPr bwMode="auto">
          <a:xfrm>
            <a:off x="274638" y="2638656"/>
            <a:ext cx="5035550" cy="469837"/>
            <a:chOff x="1663" y="3065"/>
            <a:chExt cx="3109" cy="387"/>
          </a:xfrm>
        </p:grpSpPr>
        <p:sp>
          <p:nvSpPr>
            <p:cNvPr id="17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8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74001" y="1092223"/>
            <a:ext cx="7519009" cy="492443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74001" y="1976809"/>
            <a:ext cx="7519009" cy="276999"/>
          </a:xfrm>
        </p:spPr>
        <p:txBody>
          <a:bodyPr/>
          <a:lstStyle>
            <a:lvl1pPr>
              <a:defRPr sz="18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21" name="Picture 20"/>
          <p:cNvPicPr/>
          <p:nvPr userDrawn="1"/>
        </p:nvPicPr>
        <p:blipFill rotWithShape="1">
          <a:blip r:embed="rId7"/>
          <a:srcRect l="5388" t="27969" r="50216" b="41379"/>
          <a:stretch/>
        </p:blipFill>
        <p:spPr bwMode="auto">
          <a:xfrm>
            <a:off x="4355976" y="162200"/>
            <a:ext cx="1691680" cy="5254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182" y="194766"/>
            <a:ext cx="1133475" cy="55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0926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92991"/>
            <a:ext cx="7274393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3" name="Picture 2"/>
          <p:cNvPicPr/>
          <p:nvPr userDrawn="1"/>
        </p:nvPicPr>
        <p:blipFill rotWithShape="1">
          <a:blip r:embed="rId2"/>
          <a:srcRect l="5388" t="27969" r="50216" b="41379"/>
          <a:stretch/>
        </p:blipFill>
        <p:spPr bwMode="auto">
          <a:xfrm>
            <a:off x="179512" y="4461960"/>
            <a:ext cx="1128524" cy="3705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295" y="191793"/>
            <a:ext cx="1133475" cy="55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1743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6543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5318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0613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7448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7186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914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1094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051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7093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8169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0834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7816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388" y="2349109"/>
            <a:ext cx="3857625" cy="1858565"/>
          </a:xfrm>
          <a:prstGeom prst="rect">
            <a:avLst/>
          </a:prstGeom>
        </p:spPr>
        <p:txBody>
          <a:bodyPr/>
          <a:lstStyle>
            <a:lvl1pPr>
              <a:defRPr sz="2800" b="1"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235788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7201" y="1257303"/>
            <a:ext cx="8229600" cy="32789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632983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831" y="185092"/>
            <a:ext cx="8229600" cy="857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 i="0"/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0832" y="1164983"/>
            <a:ext cx="8229600" cy="327898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905321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0899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011" y="750771"/>
            <a:ext cx="8130339" cy="517642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011" y="1424539"/>
            <a:ext cx="8130339" cy="3207786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24976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65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299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0112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7782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297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7917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3.xml"/><Relationship Id="rId21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image" Target="../media/image6.png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5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T templates-1-widescreen-FINA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5879" cy="5143500"/>
          </a:xfrm>
          <a:prstGeom prst="rect">
            <a:avLst/>
          </a:prstGeom>
        </p:spPr>
      </p:pic>
      <p:pic>
        <p:nvPicPr>
          <p:cNvPr id="1026" name="Picture 2" descr="http://www.behaviourworksaustralia.org/V2/wp-content/uploads/2015/12/Monash_2-RGB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9" t="14176" r="8088" b="14938"/>
          <a:stretch/>
        </p:blipFill>
        <p:spPr bwMode="auto">
          <a:xfrm>
            <a:off x="317499" y="228600"/>
            <a:ext cx="1935843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4510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838074"/>
            <a:ext cx="8208962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en-US" dirty="0" smtClean="0"/>
              <a:t>Click to edit Master title style</a:t>
            </a:r>
          </a:p>
        </p:txBody>
      </p:sp>
      <p:sp>
        <p:nvSpPr>
          <p:cNvPr id="1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663701"/>
            <a:ext cx="8442325" cy="261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en-US" smtClean="0"/>
              <a:t>Click to edit Master text styles</a:t>
            </a:r>
          </a:p>
          <a:p>
            <a:pPr lvl="1"/>
            <a:r>
              <a:rPr lang="en-AU" altLang="en-US" smtClean="0"/>
              <a:t>Second level</a:t>
            </a:r>
          </a:p>
          <a:p>
            <a:pPr lvl="2"/>
            <a:r>
              <a:rPr lang="en-AU" altLang="en-US" smtClean="0"/>
              <a:t>Third level</a:t>
            </a:r>
          </a:p>
          <a:p>
            <a:pPr lvl="2"/>
            <a:r>
              <a:rPr lang="en-AU" altLang="en-US" smtClean="0"/>
              <a:t>Fourth level</a:t>
            </a:r>
          </a:p>
          <a:p>
            <a:pPr lvl="3"/>
            <a:r>
              <a:rPr lang="en-AU" altLang="en-US" smtClean="0"/>
              <a:t>Fifth level</a:t>
            </a:r>
          </a:p>
        </p:txBody>
      </p:sp>
      <p:pic>
        <p:nvPicPr>
          <p:cNvPr id="17" name="Picture 13" descr="Monash_logo_rgb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4842131"/>
            <a:ext cx="1800225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Group 29"/>
          <p:cNvGrpSpPr>
            <a:grpSpLocks/>
          </p:cNvGrpSpPr>
          <p:nvPr userDrawn="1"/>
        </p:nvGrpSpPr>
        <p:grpSpPr bwMode="auto">
          <a:xfrm>
            <a:off x="395288" y="241300"/>
            <a:ext cx="8389937" cy="417513"/>
            <a:chOff x="249" y="232"/>
            <a:chExt cx="5285" cy="263"/>
          </a:xfrm>
        </p:grpSpPr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249" y="232"/>
              <a:ext cx="5285" cy="20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200" eaLnBrk="1" hangingPunct="1">
                <a:spcBef>
                  <a:spcPct val="50000"/>
                </a:spcBef>
                <a:defRPr/>
              </a:pPr>
              <a:endParaRPr lang="en-US" altLang="en-US" smtClean="0">
                <a:solidFill>
                  <a:prstClr val="black"/>
                </a:solidFill>
              </a:endParaRPr>
            </a:p>
          </p:txBody>
        </p:sp>
        <p:sp>
          <p:nvSpPr>
            <p:cNvPr id="20" name="Rectangle 28"/>
            <p:cNvSpPr>
              <a:spLocks noChangeArrowheads="1"/>
            </p:cNvSpPr>
            <p:nvPr userDrawn="1"/>
          </p:nvSpPr>
          <p:spPr bwMode="auto">
            <a:xfrm rot="2700000">
              <a:off x="390" y="314"/>
              <a:ext cx="182" cy="1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200" eaLnBrk="1" hangingPunct="1">
                <a:spcBef>
                  <a:spcPct val="50000"/>
                </a:spcBef>
                <a:defRPr/>
              </a:pPr>
              <a:endParaRPr lang="en-US" altLang="en-US" smtClean="0">
                <a:solidFill>
                  <a:prstClr val="black"/>
                </a:solidFill>
              </a:endParaRPr>
            </a:p>
          </p:txBody>
        </p:sp>
      </p:grpSp>
      <p:pic>
        <p:nvPicPr>
          <p:cNvPr id="10" name="Picture 10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76" t="87500" r="25034" b="2692"/>
          <a:stretch/>
        </p:blipFill>
        <p:spPr bwMode="auto">
          <a:xfrm>
            <a:off x="2133600" y="4740905"/>
            <a:ext cx="1536699" cy="37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0082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" name="Object 67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93" name="Group 57"/>
          <p:cNvGrpSpPr>
            <a:grpSpLocks/>
          </p:cNvGrpSpPr>
          <p:nvPr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59" name="Rectangle 58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094" name="Group 60"/>
          <p:cNvGrpSpPr>
            <a:grpSpLocks/>
          </p:cNvGrpSpPr>
          <p:nvPr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62" name="Rectangle 6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676" y="1796326"/>
            <a:ext cx="1801775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79077" y="3459629"/>
            <a:ext cx="1586973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150" y="1927622"/>
            <a:ext cx="438943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9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92894"/>
            <a:ext cx="7273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9" y="148829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513160"/>
            <a:ext cx="7273925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01" name="McK Slide Elements" hidden="1"/>
          <p:cNvGrpSpPr>
            <a:grpSpLocks/>
          </p:cNvGrpSpPr>
          <p:nvPr/>
        </p:nvGrpSpPr>
        <p:grpSpPr bwMode="auto">
          <a:xfrm>
            <a:off x="122238" y="4636798"/>
            <a:ext cx="8564562" cy="310243"/>
            <a:chOff x="75" y="3897"/>
            <a:chExt cx="557" cy="25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7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6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marL="471488" indent="-471488" defTabSz="9135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Source:	Source</a:t>
              </a:r>
            </a:p>
          </p:txBody>
        </p:sp>
      </p:grpSp>
      <p:grpSp>
        <p:nvGrpSpPr>
          <p:cNvPr id="1102" name="ACET" hidden="1"/>
          <p:cNvGrpSpPr>
            <a:grpSpLocks/>
          </p:cNvGrpSpPr>
          <p:nvPr/>
        </p:nvGrpSpPr>
        <p:grpSpPr bwMode="auto">
          <a:xfrm>
            <a:off x="2343150" y="1374949"/>
            <a:ext cx="4351338" cy="511001"/>
            <a:chOff x="915" y="610"/>
            <a:chExt cx="2686" cy="420"/>
          </a:xfrm>
        </p:grpSpPr>
        <p:cxnSp>
          <p:nvCxnSpPr>
            <p:cNvPr id="114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103" name="LegendBoxes" hidden="1"/>
          <p:cNvGrpSpPr>
            <a:grpSpLocks/>
          </p:cNvGrpSpPr>
          <p:nvPr/>
        </p:nvGrpSpPr>
        <p:grpSpPr bwMode="auto">
          <a:xfrm>
            <a:off x="8194676" y="602456"/>
            <a:ext cx="769740" cy="805682"/>
            <a:chOff x="4936" y="176"/>
            <a:chExt cx="475" cy="664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1104" name="LegendLines" hidden="1"/>
          <p:cNvGrpSpPr>
            <a:grpSpLocks/>
          </p:cNvGrpSpPr>
          <p:nvPr/>
        </p:nvGrpSpPr>
        <p:grpSpPr bwMode="auto">
          <a:xfrm>
            <a:off x="7880347" y="602456"/>
            <a:ext cx="1084065" cy="602105"/>
            <a:chOff x="4750" y="176"/>
            <a:chExt cx="669" cy="49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105" name="McKSticker" hidden="1"/>
          <p:cNvGrpSpPr>
            <a:grpSpLocks/>
          </p:cNvGrpSpPr>
          <p:nvPr/>
        </p:nvGrpSpPr>
        <p:grpSpPr bwMode="auto">
          <a:xfrm>
            <a:off x="7907243" y="602456"/>
            <a:ext cx="1066894" cy="212366"/>
            <a:chOff x="7695562" y="285750"/>
            <a:chExt cx="1045213" cy="278520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95562" y="285750"/>
              <a:ext cx="1045213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130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95562" y="285750"/>
              <a:ext cx="0" cy="27852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1131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95562" y="564270"/>
              <a:ext cx="10452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1106" name="LegendMoons" hidden="1"/>
          <p:cNvGrpSpPr>
            <a:grpSpLocks/>
          </p:cNvGrpSpPr>
          <p:nvPr/>
        </p:nvGrpSpPr>
        <p:grpSpPr bwMode="auto">
          <a:xfrm>
            <a:off x="8126417" y="602457"/>
            <a:ext cx="836780" cy="1033582"/>
            <a:chOff x="7769225" y="2105025"/>
            <a:chExt cx="819708" cy="1351831"/>
          </a:xfrm>
        </p:grpSpPr>
        <p:grpSp>
          <p:nvGrpSpPr>
            <p:cNvPr id="1109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0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1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2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578" y="211748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578" y="239311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578" y="2667185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578" y="293814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578" y="3215330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118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1107" name="Picture 85"/>
          <p:cNvPicPr>
            <a:picLocks noChangeAspect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7478714" y="279798"/>
            <a:ext cx="1506537" cy="28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Slide Number"/>
          <p:cNvSpPr txBox="1">
            <a:spLocks/>
          </p:cNvSpPr>
          <p:nvPr userDrawn="1"/>
        </p:nvSpPr>
        <p:spPr>
          <a:xfrm>
            <a:off x="8902700" y="4826794"/>
            <a:ext cx="209550" cy="1143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3CDD92-9E5A-47BA-BE3B-1C7D5569D972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09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4155926"/>
            <a:ext cx="731837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60260" y="4536033"/>
            <a:ext cx="4367724" cy="628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1F497D"/>
                </a:solidFill>
              </a:rPr>
              <a:t>BASHH Conference – Oxford 2016</a:t>
            </a:r>
            <a:endParaRPr lang="en-GB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666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3" descr="graphic-corner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43200" cy="144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5" descr="page-1_X.png"/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2263" y="0"/>
            <a:ext cx="3741737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6" descr="0810154 SpeeDx logo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13" y="220663"/>
            <a:ext cx="2214562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1284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Isosceles Triangle 23"/>
          <p:cNvSpPr/>
          <p:nvPr userDrawn="1"/>
        </p:nvSpPr>
        <p:spPr>
          <a:xfrm>
            <a:off x="-6350" y="3508375"/>
            <a:ext cx="755650" cy="1641475"/>
          </a:xfrm>
          <a:prstGeom prst="triangle">
            <a:avLst>
              <a:gd name="adj" fmla="val 0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11267" name="Title Placeholder 1"/>
          <p:cNvSpPr>
            <a:spLocks noGrp="1"/>
          </p:cNvSpPr>
          <p:nvPr>
            <p:ph type="title"/>
          </p:nvPr>
        </p:nvSpPr>
        <p:spPr bwMode="auto">
          <a:xfrm>
            <a:off x="250825" y="195263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br>
              <a:rPr lang="en-US" smtClean="0"/>
            </a:br>
            <a:endParaRPr lang="en-AU" smtClean="0"/>
          </a:p>
        </p:txBody>
      </p:sp>
      <p:sp>
        <p:nvSpPr>
          <p:cNvPr id="11268" name="Text Placeholder 4"/>
          <p:cNvSpPr>
            <a:spLocks noGrp="1"/>
          </p:cNvSpPr>
          <p:nvPr>
            <p:ph type="body" idx="1"/>
          </p:nvPr>
        </p:nvSpPr>
        <p:spPr bwMode="auto">
          <a:xfrm>
            <a:off x="371475" y="1176338"/>
            <a:ext cx="8108950" cy="327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smtClean="0"/>
          </a:p>
        </p:txBody>
      </p:sp>
      <p:pic>
        <p:nvPicPr>
          <p:cNvPr id="11269" name="Picture 10" descr="0810154 SpeeDx logo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525" y="123825"/>
            <a:ext cx="115252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rapezoid 8"/>
          <p:cNvSpPr/>
          <p:nvPr userDrawn="1"/>
        </p:nvSpPr>
        <p:spPr>
          <a:xfrm>
            <a:off x="-1588" y="0"/>
            <a:ext cx="2270126" cy="146050"/>
          </a:xfrm>
          <a:prstGeom prst="trapezoid">
            <a:avLst>
              <a:gd name="adj" fmla="val 40615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28" name="Trapezoid 27"/>
          <p:cNvSpPr/>
          <p:nvPr userDrawn="1"/>
        </p:nvSpPr>
        <p:spPr>
          <a:xfrm rot="5400000">
            <a:off x="-723900" y="722312"/>
            <a:ext cx="1590675" cy="146051"/>
          </a:xfrm>
          <a:prstGeom prst="trapezoid">
            <a:avLst>
              <a:gd name="adj" fmla="val 102571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588" y="0"/>
            <a:ext cx="146051" cy="146050"/>
          </a:xfrm>
          <a:prstGeom prst="rect">
            <a:avLst/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29" name="Parallelogram 28"/>
          <p:cNvSpPr/>
          <p:nvPr userDrawn="1"/>
        </p:nvSpPr>
        <p:spPr>
          <a:xfrm rot="10800000" flipV="1">
            <a:off x="4538663" y="4878388"/>
            <a:ext cx="1408112" cy="265112"/>
          </a:xfrm>
          <a:prstGeom prst="parallelogram">
            <a:avLst>
              <a:gd name="adj" fmla="val 25690"/>
            </a:avLst>
          </a:prstGeom>
          <a:solidFill>
            <a:srgbClr val="003D46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0" name="Parallelogram 29"/>
          <p:cNvSpPr/>
          <p:nvPr userDrawn="1"/>
        </p:nvSpPr>
        <p:spPr>
          <a:xfrm rot="10800000" flipV="1">
            <a:off x="5905500" y="4878388"/>
            <a:ext cx="1408113" cy="265112"/>
          </a:xfrm>
          <a:prstGeom prst="parallelogram">
            <a:avLst>
              <a:gd name="adj" fmla="val 25690"/>
            </a:avLst>
          </a:prstGeom>
          <a:solidFill>
            <a:srgbClr val="B1DFD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1" name="Parallelogram 30"/>
          <p:cNvSpPr/>
          <p:nvPr userDrawn="1"/>
        </p:nvSpPr>
        <p:spPr>
          <a:xfrm rot="10800000" flipV="1">
            <a:off x="7273925" y="4878388"/>
            <a:ext cx="1408113" cy="265112"/>
          </a:xfrm>
          <a:prstGeom prst="parallelogram">
            <a:avLst>
              <a:gd name="adj" fmla="val 25690"/>
            </a:avLst>
          </a:prstGeom>
          <a:solidFill>
            <a:srgbClr val="B1DFD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3" name="Parallelogram 32"/>
          <p:cNvSpPr/>
          <p:nvPr userDrawn="1"/>
        </p:nvSpPr>
        <p:spPr>
          <a:xfrm rot="10800000" flipV="1">
            <a:off x="8640763" y="4878388"/>
            <a:ext cx="503237" cy="265112"/>
          </a:xfrm>
          <a:prstGeom prst="parallelogram">
            <a:avLst>
              <a:gd name="adj" fmla="val 25690"/>
            </a:avLst>
          </a:prstGeom>
          <a:solidFill>
            <a:srgbClr val="ED1C29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83663" y="4878388"/>
            <a:ext cx="160337" cy="265112"/>
          </a:xfrm>
          <a:prstGeom prst="rect">
            <a:avLst/>
          </a:prstGeom>
          <a:solidFill>
            <a:srgbClr val="ED1C29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855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3200" b="1" i="1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1pPr>
      <a:lvl2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2pPr>
      <a:lvl3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3pPr>
      <a:lvl4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4pPr>
      <a:lvl5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Blip>
          <a:blip r:embed="rId5"/>
        </a:buBlip>
        <a:defRPr sz="28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Calibri" pitchFamily="34" charset="0"/>
        <a:buChar char="–"/>
        <a:defRPr sz="22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Courier New" pitchFamily="49" charset="0"/>
        <a:buChar char="o"/>
        <a:defRPr sz="20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6" Type="http://schemas.microsoft.com/office/2007/relationships/hdphoto" Target="../media/hdphoto1.wdp"/><Relationship Id="rId5" Type="http://schemas.openxmlformats.org/officeDocument/2006/relationships/image" Target="../media/image19.png"/><Relationship Id="rId4" Type="http://schemas.openxmlformats.org/officeDocument/2006/relationships/hyperlink" Target="http://www.google.co.uk/url?q=http://awarenessribbonpins.com/red-yellow-awareness-ribbon-pin-p-78.html&amp;sa=U&amp;ei=TMQVU_tqk6qEB_WrgPgE&amp;ved=0CEoQ9QEwDg&amp;sig2=FlxsVMELRtUe6MeHu5CJzQ&amp;usg=AFQjCNFr5l7dSi8l5EI1RWvfA5fgyQ_dbA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q=http://awarenessribbonpins.com/red-yellow-awareness-ribbon-pin-p-78.html&amp;sa=U&amp;ei=TMQVU_tqk6qEB_WrgPgE&amp;ved=0CEoQ9QEwDg&amp;sig2=FlxsVMELRtUe6MeHu5CJzQ&amp;usg=AFQjCNFr5l7dSi8l5EI1RWvfA5fgyQ_dbA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5" Type="http://schemas.microsoft.com/office/2007/relationships/hdphoto" Target="../media/hdphoto1.wdp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q=http://awarenessribbonpins.com/red-yellow-awareness-ribbon-pin-p-78.html&amp;sa=U&amp;ei=TMQVU_tqk6qEB_WrgPgE&amp;ved=0CEoQ9QEwDg&amp;sig2=FlxsVMELRtUe6MeHu5CJzQ&amp;usg=AFQjCNFr5l7dSi8l5EI1RWvfA5fgyQ_dbA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5" Type="http://schemas.microsoft.com/office/2007/relationships/hdphoto" Target="../media/hdphoto1.wdp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q=http://awarenessribbonpins.com/red-yellow-awareness-ribbon-pin-p-78.html&amp;sa=U&amp;ei=TMQVU_tqk6qEB_WrgPgE&amp;ved=0CEoQ9QEwDg&amp;sig2=FlxsVMELRtUe6MeHu5CJzQ&amp;usg=AFQjCNFr5l7dSi8l5EI1RWvfA5fgyQ_dbA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5" Type="http://schemas.microsoft.com/office/2007/relationships/hdphoto" Target="../media/hdphoto1.wdp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q=http://awarenessribbonpins.com/red-yellow-awareness-ribbon-pin-p-78.html&amp;sa=U&amp;ei=TMQVU_tqk6qEB_WrgPgE&amp;ved=0CEoQ9QEwDg&amp;sig2=FlxsVMELRtUe6MeHu5CJzQ&amp;usg=AFQjCNFr5l7dSi8l5EI1RWvfA5fgyQ_dbA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5" Type="http://schemas.microsoft.com/office/2007/relationships/hdphoto" Target="../media/hdphoto1.wdp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q=http://awarenessribbonpins.com/red-yellow-awareness-ribbon-pin-p-78.html&amp;sa=U&amp;ei=TMQVU_tqk6qEB_WrgPgE&amp;ved=0CEoQ9QEwDg&amp;sig2=FlxsVMELRtUe6MeHu5CJzQ&amp;usg=AFQjCNFr5l7dSi8l5EI1RWvfA5fgyQ_dbA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5" Type="http://schemas.microsoft.com/office/2007/relationships/hdphoto" Target="../media/hdphoto1.wdp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q=http://awarenessribbonpins.com/red-yellow-awareness-ribbon-pin-p-78.html&amp;sa=U&amp;ei=TMQVU_tqk6qEB_WrgPgE&amp;ved=0CEoQ9QEwDg&amp;sig2=FlxsVMELRtUe6MeHu5CJzQ&amp;usg=AFQjCNFr5l7dSi8l5EI1RWvfA5fgyQ_dbA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5" Type="http://schemas.microsoft.com/office/2007/relationships/hdphoto" Target="../media/hdphoto1.wdp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q=http://awarenessribbonpins.com/red-yellow-awareness-ribbon-pin-p-78.html&amp;sa=U&amp;ei=TMQVU_tqk6qEB_WrgPgE&amp;ved=0CEoQ9QEwDg&amp;sig2=FlxsVMELRtUe6MeHu5CJzQ&amp;usg=AFQjCNFr5l7dSi8l5EI1RWvfA5fgyQ_dbA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5" Type="http://schemas.microsoft.com/office/2007/relationships/hdphoto" Target="../media/hdphoto1.wdp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q=http://awarenessribbonpins.com/red-yellow-awareness-ribbon-pin-p-78.html&amp;sa=U&amp;ei=TMQVU_tqk6qEB_WrgPgE&amp;ved=0CEoQ9QEwDg&amp;sig2=FlxsVMELRtUe6MeHu5CJzQ&amp;usg=AFQjCNFr5l7dSi8l5EI1RWvfA5fgyQ_dbA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5" Type="http://schemas.microsoft.com/office/2007/relationships/hdphoto" Target="../media/hdphoto1.wdp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627534"/>
            <a:ext cx="7851648" cy="1371600"/>
          </a:xfrm>
        </p:spPr>
        <p:txBody>
          <a:bodyPr>
            <a:normAutofit fontScale="90000"/>
          </a:bodyPr>
          <a:lstStyle/>
          <a:p>
            <a:r>
              <a:rPr lang="en-GB" sz="3100" dirty="0" smtClean="0">
                <a:effectLst/>
              </a:rPr>
              <a:t>Low proportion of MSM tested for hepatitis C despite high prevalence in the tested population</a:t>
            </a:r>
            <a:r>
              <a:rPr lang="en-GB" dirty="0" smtClean="0">
                <a:effectLst/>
              </a:rPr>
              <a:t/>
            </a:r>
            <a:br>
              <a:rPr lang="en-GB" dirty="0" smtClean="0">
                <a:effectLst/>
              </a:rPr>
            </a:b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8504" y="1680651"/>
            <a:ext cx="7854696" cy="2214246"/>
          </a:xfrm>
        </p:spPr>
        <p:txBody>
          <a:bodyPr>
            <a:normAutofit/>
          </a:bodyPr>
          <a:lstStyle/>
          <a:p>
            <a:r>
              <a:rPr lang="en-GB" sz="2000" u="sng" dirty="0" smtClean="0"/>
              <a:t>Pasvol TJ</a:t>
            </a:r>
            <a:r>
              <a:rPr lang="en-GB" sz="2000" dirty="0" smtClean="0"/>
              <a:t>, Khan PY, </a:t>
            </a:r>
            <a:r>
              <a:rPr lang="en-GB" sz="2000" dirty="0" err="1" smtClean="0"/>
              <a:t>Thiagarajan</a:t>
            </a:r>
            <a:r>
              <a:rPr lang="en-GB" sz="2000" dirty="0" smtClean="0"/>
              <a:t> A, Dakshina S, Sarner L, Orkin CM</a:t>
            </a:r>
            <a:endParaRPr lang="en-GB" sz="2000" dirty="0"/>
          </a:p>
        </p:txBody>
      </p:sp>
      <p:sp>
        <p:nvSpPr>
          <p:cNvPr id="4" name="TextBox 3"/>
          <p:cNvSpPr txBox="1"/>
          <p:nvPr/>
        </p:nvSpPr>
        <p:spPr>
          <a:xfrm>
            <a:off x="3347864" y="2211710"/>
            <a:ext cx="21559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 smtClean="0">
                <a:solidFill>
                  <a:prstClr val="black"/>
                </a:solidFill>
              </a:rPr>
              <a:t>BASHH 2016, Oxford </a:t>
            </a:r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3092" y="2702074"/>
            <a:ext cx="1825968" cy="14077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1295857" y="2715766"/>
            <a:ext cx="1685102" cy="1380327"/>
            <a:chOff x="4260284" y="418094"/>
            <a:chExt cx="2478084" cy="2890625"/>
          </a:xfrm>
        </p:grpSpPr>
        <p:pic>
          <p:nvPicPr>
            <p:cNvPr id="7" name="Picture 439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4" descr="http://t1.gstatic.com/images?q=tbn:ANd9GcQfHV1s7-1gtnJRG4lanON_5womLqsHeDiA47hr0lojNSslssyRtQajVA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18157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w HCV positives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539553" y="1185056"/>
            <a:ext cx="864096" cy="864096"/>
            <a:chOff x="4260284" y="418094"/>
            <a:chExt cx="2478084" cy="2890625"/>
          </a:xfrm>
        </p:grpSpPr>
        <p:pic>
          <p:nvPicPr>
            <p:cNvPr id="5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oup 21"/>
          <p:cNvGrpSpPr/>
          <p:nvPr/>
        </p:nvGrpSpPr>
        <p:grpSpPr>
          <a:xfrm>
            <a:off x="539553" y="2187363"/>
            <a:ext cx="864096" cy="864096"/>
            <a:chOff x="4260284" y="418094"/>
            <a:chExt cx="2478084" cy="2890625"/>
          </a:xfrm>
        </p:grpSpPr>
        <p:pic>
          <p:nvPicPr>
            <p:cNvPr id="23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oup 27"/>
          <p:cNvGrpSpPr/>
          <p:nvPr/>
        </p:nvGrpSpPr>
        <p:grpSpPr>
          <a:xfrm>
            <a:off x="2555776" y="1142513"/>
            <a:ext cx="864096" cy="864096"/>
            <a:chOff x="4260284" y="418094"/>
            <a:chExt cx="2478084" cy="2890625"/>
          </a:xfrm>
        </p:grpSpPr>
        <p:pic>
          <p:nvPicPr>
            <p:cNvPr id="29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" name="Group 30"/>
          <p:cNvGrpSpPr/>
          <p:nvPr/>
        </p:nvGrpSpPr>
        <p:grpSpPr>
          <a:xfrm>
            <a:off x="2555776" y="2187363"/>
            <a:ext cx="864096" cy="864096"/>
            <a:chOff x="4260284" y="418094"/>
            <a:chExt cx="2478084" cy="2890625"/>
          </a:xfrm>
        </p:grpSpPr>
        <p:pic>
          <p:nvPicPr>
            <p:cNvPr id="32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/>
          <p:cNvGrpSpPr/>
          <p:nvPr/>
        </p:nvGrpSpPr>
        <p:grpSpPr>
          <a:xfrm>
            <a:off x="4499992" y="1142513"/>
            <a:ext cx="864096" cy="864096"/>
            <a:chOff x="4260284" y="418094"/>
            <a:chExt cx="2478084" cy="2890625"/>
          </a:xfrm>
        </p:grpSpPr>
        <p:pic>
          <p:nvPicPr>
            <p:cNvPr id="38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Group 39"/>
          <p:cNvGrpSpPr/>
          <p:nvPr/>
        </p:nvGrpSpPr>
        <p:grpSpPr>
          <a:xfrm>
            <a:off x="4487836" y="2144820"/>
            <a:ext cx="864096" cy="864096"/>
            <a:chOff x="4260284" y="418094"/>
            <a:chExt cx="2478084" cy="2890625"/>
          </a:xfrm>
        </p:grpSpPr>
        <p:pic>
          <p:nvPicPr>
            <p:cNvPr id="41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/>
          <p:cNvGrpSpPr/>
          <p:nvPr/>
        </p:nvGrpSpPr>
        <p:grpSpPr>
          <a:xfrm>
            <a:off x="6432052" y="1142513"/>
            <a:ext cx="864096" cy="864096"/>
            <a:chOff x="4260284" y="418094"/>
            <a:chExt cx="2478084" cy="2890625"/>
          </a:xfrm>
        </p:grpSpPr>
        <p:pic>
          <p:nvPicPr>
            <p:cNvPr id="47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8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>
            <a:off x="6432052" y="2144820"/>
            <a:ext cx="864096" cy="864096"/>
            <a:chOff x="4260284" y="418094"/>
            <a:chExt cx="2478084" cy="2890625"/>
          </a:xfrm>
        </p:grpSpPr>
        <p:pic>
          <p:nvPicPr>
            <p:cNvPr id="50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17729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w HCV positives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539553" y="1185056"/>
            <a:ext cx="864096" cy="864096"/>
            <a:chOff x="4260284" y="418094"/>
            <a:chExt cx="2478084" cy="2890625"/>
          </a:xfrm>
        </p:grpSpPr>
        <p:pic>
          <p:nvPicPr>
            <p:cNvPr id="5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oup 21"/>
          <p:cNvGrpSpPr/>
          <p:nvPr/>
        </p:nvGrpSpPr>
        <p:grpSpPr>
          <a:xfrm>
            <a:off x="539553" y="2187363"/>
            <a:ext cx="864096" cy="864096"/>
            <a:chOff x="4260284" y="418094"/>
            <a:chExt cx="2478084" cy="2890625"/>
          </a:xfrm>
        </p:grpSpPr>
        <p:pic>
          <p:nvPicPr>
            <p:cNvPr id="23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oup 27"/>
          <p:cNvGrpSpPr/>
          <p:nvPr/>
        </p:nvGrpSpPr>
        <p:grpSpPr>
          <a:xfrm>
            <a:off x="2555776" y="1142513"/>
            <a:ext cx="864096" cy="864096"/>
            <a:chOff x="4260284" y="418094"/>
            <a:chExt cx="2478084" cy="2890625"/>
          </a:xfrm>
        </p:grpSpPr>
        <p:pic>
          <p:nvPicPr>
            <p:cNvPr id="29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" name="Group 30"/>
          <p:cNvGrpSpPr/>
          <p:nvPr/>
        </p:nvGrpSpPr>
        <p:grpSpPr>
          <a:xfrm>
            <a:off x="2555776" y="2187363"/>
            <a:ext cx="864096" cy="864096"/>
            <a:chOff x="4260284" y="418094"/>
            <a:chExt cx="2478084" cy="2890625"/>
          </a:xfrm>
        </p:grpSpPr>
        <p:pic>
          <p:nvPicPr>
            <p:cNvPr id="32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/>
          <p:cNvGrpSpPr/>
          <p:nvPr/>
        </p:nvGrpSpPr>
        <p:grpSpPr>
          <a:xfrm>
            <a:off x="4499992" y="1142513"/>
            <a:ext cx="864096" cy="864096"/>
            <a:chOff x="4260284" y="418094"/>
            <a:chExt cx="2478084" cy="2890625"/>
          </a:xfrm>
        </p:grpSpPr>
        <p:pic>
          <p:nvPicPr>
            <p:cNvPr id="38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Group 39"/>
          <p:cNvGrpSpPr/>
          <p:nvPr/>
        </p:nvGrpSpPr>
        <p:grpSpPr>
          <a:xfrm>
            <a:off x="4487836" y="2144820"/>
            <a:ext cx="864096" cy="864096"/>
            <a:chOff x="4260284" y="418094"/>
            <a:chExt cx="2478084" cy="2890625"/>
          </a:xfrm>
        </p:grpSpPr>
        <p:pic>
          <p:nvPicPr>
            <p:cNvPr id="41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/>
          <p:cNvGrpSpPr/>
          <p:nvPr/>
        </p:nvGrpSpPr>
        <p:grpSpPr>
          <a:xfrm>
            <a:off x="6432052" y="1142513"/>
            <a:ext cx="864096" cy="864096"/>
            <a:chOff x="4260284" y="418094"/>
            <a:chExt cx="2478084" cy="2890625"/>
          </a:xfrm>
        </p:grpSpPr>
        <p:pic>
          <p:nvPicPr>
            <p:cNvPr id="47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8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>
            <a:off x="6432052" y="2144820"/>
            <a:ext cx="864096" cy="864096"/>
            <a:chOff x="4260284" y="418094"/>
            <a:chExt cx="2478084" cy="2890625"/>
          </a:xfrm>
        </p:grpSpPr>
        <p:pic>
          <p:nvPicPr>
            <p:cNvPr id="50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6" name="TextBox 55"/>
          <p:cNvSpPr txBox="1"/>
          <p:nvPr/>
        </p:nvSpPr>
        <p:spPr>
          <a:xfrm>
            <a:off x="3347863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220071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164288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320770" y="956905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876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w HCV positives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539553" y="1185056"/>
            <a:ext cx="864096" cy="864096"/>
            <a:chOff x="4260284" y="418094"/>
            <a:chExt cx="2478084" cy="2890625"/>
          </a:xfrm>
        </p:grpSpPr>
        <p:pic>
          <p:nvPicPr>
            <p:cNvPr id="5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oup 21"/>
          <p:cNvGrpSpPr/>
          <p:nvPr/>
        </p:nvGrpSpPr>
        <p:grpSpPr>
          <a:xfrm>
            <a:off x="539553" y="2187363"/>
            <a:ext cx="864096" cy="864096"/>
            <a:chOff x="4260284" y="418094"/>
            <a:chExt cx="2478084" cy="2890625"/>
          </a:xfrm>
        </p:grpSpPr>
        <p:pic>
          <p:nvPicPr>
            <p:cNvPr id="23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oup 27"/>
          <p:cNvGrpSpPr/>
          <p:nvPr/>
        </p:nvGrpSpPr>
        <p:grpSpPr>
          <a:xfrm>
            <a:off x="2555776" y="1142513"/>
            <a:ext cx="864096" cy="864096"/>
            <a:chOff x="4260284" y="418094"/>
            <a:chExt cx="2478084" cy="2890625"/>
          </a:xfrm>
        </p:grpSpPr>
        <p:pic>
          <p:nvPicPr>
            <p:cNvPr id="29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" name="Group 30"/>
          <p:cNvGrpSpPr/>
          <p:nvPr/>
        </p:nvGrpSpPr>
        <p:grpSpPr>
          <a:xfrm>
            <a:off x="2555776" y="2187363"/>
            <a:ext cx="864096" cy="864096"/>
            <a:chOff x="4260284" y="418094"/>
            <a:chExt cx="2478084" cy="2890625"/>
          </a:xfrm>
        </p:grpSpPr>
        <p:pic>
          <p:nvPicPr>
            <p:cNvPr id="32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/>
          <p:cNvGrpSpPr/>
          <p:nvPr/>
        </p:nvGrpSpPr>
        <p:grpSpPr>
          <a:xfrm>
            <a:off x="4499992" y="1142513"/>
            <a:ext cx="864096" cy="864096"/>
            <a:chOff x="4260284" y="418094"/>
            <a:chExt cx="2478084" cy="2890625"/>
          </a:xfrm>
        </p:grpSpPr>
        <p:pic>
          <p:nvPicPr>
            <p:cNvPr id="38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Group 39"/>
          <p:cNvGrpSpPr/>
          <p:nvPr/>
        </p:nvGrpSpPr>
        <p:grpSpPr>
          <a:xfrm>
            <a:off x="4487836" y="2144820"/>
            <a:ext cx="864096" cy="864096"/>
            <a:chOff x="4260284" y="418094"/>
            <a:chExt cx="2478084" cy="2890625"/>
          </a:xfrm>
        </p:grpSpPr>
        <p:pic>
          <p:nvPicPr>
            <p:cNvPr id="41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/>
          <p:cNvGrpSpPr/>
          <p:nvPr/>
        </p:nvGrpSpPr>
        <p:grpSpPr>
          <a:xfrm>
            <a:off x="6432052" y="1142513"/>
            <a:ext cx="864096" cy="864096"/>
            <a:chOff x="4260284" y="418094"/>
            <a:chExt cx="2478084" cy="2890625"/>
          </a:xfrm>
        </p:grpSpPr>
        <p:pic>
          <p:nvPicPr>
            <p:cNvPr id="47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8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>
            <a:off x="6432052" y="2144820"/>
            <a:ext cx="864096" cy="864096"/>
            <a:chOff x="4260284" y="418094"/>
            <a:chExt cx="2478084" cy="2890625"/>
          </a:xfrm>
        </p:grpSpPr>
        <p:pic>
          <p:nvPicPr>
            <p:cNvPr id="50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6" name="TextBox 55"/>
          <p:cNvSpPr txBox="1"/>
          <p:nvPr/>
        </p:nvSpPr>
        <p:spPr>
          <a:xfrm>
            <a:off x="3347863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220071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164288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347863" y="118505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334589" y="2144820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3347858" y="2124804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220069" y="2124543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320770" y="956905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320770" y="1184114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224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w HCV positives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539553" y="1185056"/>
            <a:ext cx="864096" cy="864096"/>
            <a:chOff x="4260284" y="418094"/>
            <a:chExt cx="2478084" cy="2890625"/>
          </a:xfrm>
        </p:grpSpPr>
        <p:pic>
          <p:nvPicPr>
            <p:cNvPr id="5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oup 21"/>
          <p:cNvGrpSpPr/>
          <p:nvPr/>
        </p:nvGrpSpPr>
        <p:grpSpPr>
          <a:xfrm>
            <a:off x="539553" y="2187363"/>
            <a:ext cx="864096" cy="864096"/>
            <a:chOff x="4260284" y="418094"/>
            <a:chExt cx="2478084" cy="2890625"/>
          </a:xfrm>
        </p:grpSpPr>
        <p:pic>
          <p:nvPicPr>
            <p:cNvPr id="23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oup 27"/>
          <p:cNvGrpSpPr/>
          <p:nvPr/>
        </p:nvGrpSpPr>
        <p:grpSpPr>
          <a:xfrm>
            <a:off x="2555776" y="1142513"/>
            <a:ext cx="864096" cy="864096"/>
            <a:chOff x="4260284" y="418094"/>
            <a:chExt cx="2478084" cy="2890625"/>
          </a:xfrm>
        </p:grpSpPr>
        <p:pic>
          <p:nvPicPr>
            <p:cNvPr id="29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" name="Group 30"/>
          <p:cNvGrpSpPr/>
          <p:nvPr/>
        </p:nvGrpSpPr>
        <p:grpSpPr>
          <a:xfrm>
            <a:off x="2555776" y="2187363"/>
            <a:ext cx="864096" cy="864096"/>
            <a:chOff x="4260284" y="418094"/>
            <a:chExt cx="2478084" cy="2890625"/>
          </a:xfrm>
        </p:grpSpPr>
        <p:pic>
          <p:nvPicPr>
            <p:cNvPr id="32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/>
          <p:cNvGrpSpPr/>
          <p:nvPr/>
        </p:nvGrpSpPr>
        <p:grpSpPr>
          <a:xfrm>
            <a:off x="4499992" y="1142513"/>
            <a:ext cx="864096" cy="864096"/>
            <a:chOff x="4260284" y="418094"/>
            <a:chExt cx="2478084" cy="2890625"/>
          </a:xfrm>
        </p:grpSpPr>
        <p:pic>
          <p:nvPicPr>
            <p:cNvPr id="38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Group 39"/>
          <p:cNvGrpSpPr/>
          <p:nvPr/>
        </p:nvGrpSpPr>
        <p:grpSpPr>
          <a:xfrm>
            <a:off x="4487836" y="2144820"/>
            <a:ext cx="864096" cy="864096"/>
            <a:chOff x="4260284" y="418094"/>
            <a:chExt cx="2478084" cy="2890625"/>
          </a:xfrm>
        </p:grpSpPr>
        <p:pic>
          <p:nvPicPr>
            <p:cNvPr id="41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/>
          <p:cNvGrpSpPr/>
          <p:nvPr/>
        </p:nvGrpSpPr>
        <p:grpSpPr>
          <a:xfrm>
            <a:off x="6432052" y="1142513"/>
            <a:ext cx="864096" cy="864096"/>
            <a:chOff x="4260284" y="418094"/>
            <a:chExt cx="2478084" cy="2890625"/>
          </a:xfrm>
        </p:grpSpPr>
        <p:pic>
          <p:nvPicPr>
            <p:cNvPr id="47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8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>
            <a:off x="6432052" y="2144820"/>
            <a:ext cx="864096" cy="864096"/>
            <a:chOff x="4260284" y="418094"/>
            <a:chExt cx="2478084" cy="2890625"/>
          </a:xfrm>
        </p:grpSpPr>
        <p:pic>
          <p:nvPicPr>
            <p:cNvPr id="50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6" name="TextBox 55"/>
          <p:cNvSpPr txBox="1"/>
          <p:nvPr/>
        </p:nvSpPr>
        <p:spPr>
          <a:xfrm>
            <a:off x="3347863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220071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164288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334586" y="2382859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347863" y="118505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347859" y="1430275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220071" y="118505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334589" y="2144820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3347858" y="2124804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250645" y="238043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220069" y="2124543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7164287" y="2124542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320770" y="956905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320770" y="1184114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320766" y="1429333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077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w HCV positives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539553" y="1185056"/>
            <a:ext cx="864096" cy="864096"/>
            <a:chOff x="4260284" y="418094"/>
            <a:chExt cx="2478084" cy="2890625"/>
          </a:xfrm>
        </p:grpSpPr>
        <p:pic>
          <p:nvPicPr>
            <p:cNvPr id="5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oup 21"/>
          <p:cNvGrpSpPr/>
          <p:nvPr/>
        </p:nvGrpSpPr>
        <p:grpSpPr>
          <a:xfrm>
            <a:off x="539553" y="2187363"/>
            <a:ext cx="864096" cy="864096"/>
            <a:chOff x="4260284" y="418094"/>
            <a:chExt cx="2478084" cy="2890625"/>
          </a:xfrm>
        </p:grpSpPr>
        <p:pic>
          <p:nvPicPr>
            <p:cNvPr id="23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oup 27"/>
          <p:cNvGrpSpPr/>
          <p:nvPr/>
        </p:nvGrpSpPr>
        <p:grpSpPr>
          <a:xfrm>
            <a:off x="2555776" y="1142513"/>
            <a:ext cx="864096" cy="864096"/>
            <a:chOff x="4260284" y="418094"/>
            <a:chExt cx="2478084" cy="2890625"/>
          </a:xfrm>
        </p:grpSpPr>
        <p:pic>
          <p:nvPicPr>
            <p:cNvPr id="29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" name="Group 30"/>
          <p:cNvGrpSpPr/>
          <p:nvPr/>
        </p:nvGrpSpPr>
        <p:grpSpPr>
          <a:xfrm>
            <a:off x="2555776" y="2187363"/>
            <a:ext cx="864096" cy="864096"/>
            <a:chOff x="4260284" y="418094"/>
            <a:chExt cx="2478084" cy="2890625"/>
          </a:xfrm>
        </p:grpSpPr>
        <p:pic>
          <p:nvPicPr>
            <p:cNvPr id="32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/>
          <p:cNvGrpSpPr/>
          <p:nvPr/>
        </p:nvGrpSpPr>
        <p:grpSpPr>
          <a:xfrm>
            <a:off x="4499992" y="1142513"/>
            <a:ext cx="864096" cy="864096"/>
            <a:chOff x="4260284" y="418094"/>
            <a:chExt cx="2478084" cy="2890625"/>
          </a:xfrm>
        </p:grpSpPr>
        <p:pic>
          <p:nvPicPr>
            <p:cNvPr id="38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Group 39"/>
          <p:cNvGrpSpPr/>
          <p:nvPr/>
        </p:nvGrpSpPr>
        <p:grpSpPr>
          <a:xfrm>
            <a:off x="4487836" y="2144820"/>
            <a:ext cx="864096" cy="864096"/>
            <a:chOff x="4260284" y="418094"/>
            <a:chExt cx="2478084" cy="2890625"/>
          </a:xfrm>
        </p:grpSpPr>
        <p:pic>
          <p:nvPicPr>
            <p:cNvPr id="41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/>
          <p:cNvGrpSpPr/>
          <p:nvPr/>
        </p:nvGrpSpPr>
        <p:grpSpPr>
          <a:xfrm>
            <a:off x="6432052" y="1142513"/>
            <a:ext cx="864096" cy="864096"/>
            <a:chOff x="4260284" y="418094"/>
            <a:chExt cx="2478084" cy="2890625"/>
          </a:xfrm>
        </p:grpSpPr>
        <p:pic>
          <p:nvPicPr>
            <p:cNvPr id="47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8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>
            <a:off x="6432052" y="2144820"/>
            <a:ext cx="864096" cy="864096"/>
            <a:chOff x="4260284" y="418094"/>
            <a:chExt cx="2478084" cy="2890625"/>
          </a:xfrm>
        </p:grpSpPr>
        <p:pic>
          <p:nvPicPr>
            <p:cNvPr id="50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6" name="TextBox 55"/>
          <p:cNvSpPr txBox="1"/>
          <p:nvPr/>
        </p:nvSpPr>
        <p:spPr>
          <a:xfrm>
            <a:off x="3347863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220071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164288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334586" y="2382859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347863" y="118505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347859" y="1430275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220071" y="118505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334589" y="2144820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3347858" y="2124804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250645" y="238043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220069" y="2124543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7164287" y="2124542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320770" y="956905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320770" y="1184114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320766" y="1429333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167959" y="2370834"/>
            <a:ext cx="1652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Country of origin</a:t>
            </a:r>
            <a:endParaRPr lang="en-GB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600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w HCV positives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539553" y="1185056"/>
            <a:ext cx="864096" cy="864096"/>
            <a:chOff x="4260284" y="418094"/>
            <a:chExt cx="2478084" cy="2890625"/>
          </a:xfrm>
        </p:grpSpPr>
        <p:pic>
          <p:nvPicPr>
            <p:cNvPr id="5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oup 21"/>
          <p:cNvGrpSpPr/>
          <p:nvPr/>
        </p:nvGrpSpPr>
        <p:grpSpPr>
          <a:xfrm>
            <a:off x="539553" y="2187363"/>
            <a:ext cx="864096" cy="864096"/>
            <a:chOff x="4260284" y="418094"/>
            <a:chExt cx="2478084" cy="2890625"/>
          </a:xfrm>
        </p:grpSpPr>
        <p:pic>
          <p:nvPicPr>
            <p:cNvPr id="23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Group 24"/>
          <p:cNvGrpSpPr/>
          <p:nvPr/>
        </p:nvGrpSpPr>
        <p:grpSpPr>
          <a:xfrm>
            <a:off x="527397" y="3219822"/>
            <a:ext cx="864096" cy="864096"/>
            <a:chOff x="4260284" y="418094"/>
            <a:chExt cx="2478084" cy="2890625"/>
          </a:xfrm>
        </p:grpSpPr>
        <p:pic>
          <p:nvPicPr>
            <p:cNvPr id="26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oup 27"/>
          <p:cNvGrpSpPr/>
          <p:nvPr/>
        </p:nvGrpSpPr>
        <p:grpSpPr>
          <a:xfrm>
            <a:off x="2555776" y="1142513"/>
            <a:ext cx="864096" cy="864096"/>
            <a:chOff x="4260284" y="418094"/>
            <a:chExt cx="2478084" cy="2890625"/>
          </a:xfrm>
        </p:grpSpPr>
        <p:pic>
          <p:nvPicPr>
            <p:cNvPr id="29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" name="Group 30"/>
          <p:cNvGrpSpPr/>
          <p:nvPr/>
        </p:nvGrpSpPr>
        <p:grpSpPr>
          <a:xfrm>
            <a:off x="2555776" y="2187363"/>
            <a:ext cx="864096" cy="864096"/>
            <a:chOff x="4260284" y="418094"/>
            <a:chExt cx="2478084" cy="2890625"/>
          </a:xfrm>
        </p:grpSpPr>
        <p:pic>
          <p:nvPicPr>
            <p:cNvPr id="32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 33"/>
          <p:cNvGrpSpPr/>
          <p:nvPr/>
        </p:nvGrpSpPr>
        <p:grpSpPr>
          <a:xfrm>
            <a:off x="2543620" y="3177279"/>
            <a:ext cx="864096" cy="864096"/>
            <a:chOff x="4260284" y="418094"/>
            <a:chExt cx="2478084" cy="2890625"/>
          </a:xfrm>
        </p:grpSpPr>
        <p:pic>
          <p:nvPicPr>
            <p:cNvPr id="35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6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/>
          <p:cNvGrpSpPr/>
          <p:nvPr/>
        </p:nvGrpSpPr>
        <p:grpSpPr>
          <a:xfrm>
            <a:off x="4499992" y="1142513"/>
            <a:ext cx="864096" cy="864096"/>
            <a:chOff x="4260284" y="418094"/>
            <a:chExt cx="2478084" cy="2890625"/>
          </a:xfrm>
        </p:grpSpPr>
        <p:pic>
          <p:nvPicPr>
            <p:cNvPr id="38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Group 39"/>
          <p:cNvGrpSpPr/>
          <p:nvPr/>
        </p:nvGrpSpPr>
        <p:grpSpPr>
          <a:xfrm>
            <a:off x="4487836" y="2144820"/>
            <a:ext cx="864096" cy="864096"/>
            <a:chOff x="4260284" y="418094"/>
            <a:chExt cx="2478084" cy="2890625"/>
          </a:xfrm>
        </p:grpSpPr>
        <p:pic>
          <p:nvPicPr>
            <p:cNvPr id="41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3" name="Group 42"/>
          <p:cNvGrpSpPr/>
          <p:nvPr/>
        </p:nvGrpSpPr>
        <p:grpSpPr>
          <a:xfrm>
            <a:off x="4487836" y="3177279"/>
            <a:ext cx="864096" cy="864096"/>
            <a:chOff x="4260284" y="418094"/>
            <a:chExt cx="2478084" cy="2890625"/>
          </a:xfrm>
        </p:grpSpPr>
        <p:pic>
          <p:nvPicPr>
            <p:cNvPr id="44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/>
          <p:cNvGrpSpPr/>
          <p:nvPr/>
        </p:nvGrpSpPr>
        <p:grpSpPr>
          <a:xfrm>
            <a:off x="6432052" y="1142513"/>
            <a:ext cx="864096" cy="864096"/>
            <a:chOff x="4260284" y="418094"/>
            <a:chExt cx="2478084" cy="2890625"/>
          </a:xfrm>
        </p:grpSpPr>
        <p:pic>
          <p:nvPicPr>
            <p:cNvPr id="47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8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>
            <a:off x="6432052" y="2144820"/>
            <a:ext cx="864096" cy="864096"/>
            <a:chOff x="4260284" y="418094"/>
            <a:chExt cx="2478084" cy="2890625"/>
          </a:xfrm>
        </p:grpSpPr>
        <p:pic>
          <p:nvPicPr>
            <p:cNvPr id="50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2" name="Group 51"/>
          <p:cNvGrpSpPr/>
          <p:nvPr/>
        </p:nvGrpSpPr>
        <p:grpSpPr>
          <a:xfrm>
            <a:off x="6432064" y="3219822"/>
            <a:ext cx="864096" cy="864096"/>
            <a:chOff x="4260284" y="418094"/>
            <a:chExt cx="2478084" cy="2890625"/>
          </a:xfrm>
        </p:grpSpPr>
        <p:pic>
          <p:nvPicPr>
            <p:cNvPr id="53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6" name="TextBox 55"/>
          <p:cNvSpPr txBox="1"/>
          <p:nvPr/>
        </p:nvSpPr>
        <p:spPr>
          <a:xfrm>
            <a:off x="3347863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220071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164288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334586" y="2382859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347863" y="118505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347859" y="1430275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220071" y="118505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334589" y="2144820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3347858" y="2124804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250645" y="238043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220069" y="2124543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7164287" y="2124542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320770" y="956905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320770" y="1184114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320766" y="1429333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7167959" y="2370834"/>
            <a:ext cx="1652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Country of origin</a:t>
            </a:r>
            <a:endParaRPr lang="en-GB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868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w HCV positives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539553" y="1185056"/>
            <a:ext cx="864096" cy="864096"/>
            <a:chOff x="4260284" y="418094"/>
            <a:chExt cx="2478084" cy="2890625"/>
          </a:xfrm>
        </p:grpSpPr>
        <p:pic>
          <p:nvPicPr>
            <p:cNvPr id="5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oup 21"/>
          <p:cNvGrpSpPr/>
          <p:nvPr/>
        </p:nvGrpSpPr>
        <p:grpSpPr>
          <a:xfrm>
            <a:off x="539553" y="2187363"/>
            <a:ext cx="864096" cy="864096"/>
            <a:chOff x="4260284" y="418094"/>
            <a:chExt cx="2478084" cy="2890625"/>
          </a:xfrm>
        </p:grpSpPr>
        <p:pic>
          <p:nvPicPr>
            <p:cNvPr id="23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Group 24"/>
          <p:cNvGrpSpPr/>
          <p:nvPr/>
        </p:nvGrpSpPr>
        <p:grpSpPr>
          <a:xfrm>
            <a:off x="527397" y="3219822"/>
            <a:ext cx="864096" cy="864096"/>
            <a:chOff x="4260284" y="418094"/>
            <a:chExt cx="2478084" cy="2890625"/>
          </a:xfrm>
        </p:grpSpPr>
        <p:pic>
          <p:nvPicPr>
            <p:cNvPr id="26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oup 27"/>
          <p:cNvGrpSpPr/>
          <p:nvPr/>
        </p:nvGrpSpPr>
        <p:grpSpPr>
          <a:xfrm>
            <a:off x="2555776" y="1142513"/>
            <a:ext cx="864096" cy="864096"/>
            <a:chOff x="4260284" y="418094"/>
            <a:chExt cx="2478084" cy="2890625"/>
          </a:xfrm>
        </p:grpSpPr>
        <p:pic>
          <p:nvPicPr>
            <p:cNvPr id="29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" name="Group 30"/>
          <p:cNvGrpSpPr/>
          <p:nvPr/>
        </p:nvGrpSpPr>
        <p:grpSpPr>
          <a:xfrm>
            <a:off x="2555776" y="2187363"/>
            <a:ext cx="864096" cy="864096"/>
            <a:chOff x="4260284" y="418094"/>
            <a:chExt cx="2478084" cy="2890625"/>
          </a:xfrm>
        </p:grpSpPr>
        <p:pic>
          <p:nvPicPr>
            <p:cNvPr id="32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 33"/>
          <p:cNvGrpSpPr/>
          <p:nvPr/>
        </p:nvGrpSpPr>
        <p:grpSpPr>
          <a:xfrm>
            <a:off x="2543620" y="3177279"/>
            <a:ext cx="864096" cy="864096"/>
            <a:chOff x="4260284" y="418094"/>
            <a:chExt cx="2478084" cy="2890625"/>
          </a:xfrm>
        </p:grpSpPr>
        <p:pic>
          <p:nvPicPr>
            <p:cNvPr id="35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6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/>
          <p:cNvGrpSpPr/>
          <p:nvPr/>
        </p:nvGrpSpPr>
        <p:grpSpPr>
          <a:xfrm>
            <a:off x="4499992" y="1142513"/>
            <a:ext cx="864096" cy="864096"/>
            <a:chOff x="4260284" y="418094"/>
            <a:chExt cx="2478084" cy="2890625"/>
          </a:xfrm>
        </p:grpSpPr>
        <p:pic>
          <p:nvPicPr>
            <p:cNvPr id="38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Group 39"/>
          <p:cNvGrpSpPr/>
          <p:nvPr/>
        </p:nvGrpSpPr>
        <p:grpSpPr>
          <a:xfrm>
            <a:off x="4487836" y="2144820"/>
            <a:ext cx="864096" cy="864096"/>
            <a:chOff x="4260284" y="418094"/>
            <a:chExt cx="2478084" cy="2890625"/>
          </a:xfrm>
        </p:grpSpPr>
        <p:pic>
          <p:nvPicPr>
            <p:cNvPr id="41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3" name="Group 42"/>
          <p:cNvGrpSpPr/>
          <p:nvPr/>
        </p:nvGrpSpPr>
        <p:grpSpPr>
          <a:xfrm>
            <a:off x="4487836" y="3177279"/>
            <a:ext cx="864096" cy="864096"/>
            <a:chOff x="4260284" y="418094"/>
            <a:chExt cx="2478084" cy="2890625"/>
          </a:xfrm>
        </p:grpSpPr>
        <p:pic>
          <p:nvPicPr>
            <p:cNvPr id="44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/>
          <p:cNvGrpSpPr/>
          <p:nvPr/>
        </p:nvGrpSpPr>
        <p:grpSpPr>
          <a:xfrm>
            <a:off x="6432052" y="1142513"/>
            <a:ext cx="864096" cy="864096"/>
            <a:chOff x="4260284" y="418094"/>
            <a:chExt cx="2478084" cy="2890625"/>
          </a:xfrm>
        </p:grpSpPr>
        <p:pic>
          <p:nvPicPr>
            <p:cNvPr id="47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8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>
            <a:off x="6432052" y="2144820"/>
            <a:ext cx="864096" cy="864096"/>
            <a:chOff x="4260284" y="418094"/>
            <a:chExt cx="2478084" cy="2890625"/>
          </a:xfrm>
        </p:grpSpPr>
        <p:pic>
          <p:nvPicPr>
            <p:cNvPr id="50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2" name="Group 51"/>
          <p:cNvGrpSpPr/>
          <p:nvPr/>
        </p:nvGrpSpPr>
        <p:grpSpPr>
          <a:xfrm>
            <a:off x="6432064" y="3219822"/>
            <a:ext cx="864096" cy="864096"/>
            <a:chOff x="4260284" y="418094"/>
            <a:chExt cx="2478084" cy="2890625"/>
          </a:xfrm>
        </p:grpSpPr>
        <p:pic>
          <p:nvPicPr>
            <p:cNvPr id="53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6" name="TextBox 55"/>
          <p:cNvSpPr txBox="1"/>
          <p:nvPr/>
        </p:nvSpPr>
        <p:spPr>
          <a:xfrm>
            <a:off x="3347863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220071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164288" y="95784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334586" y="2382859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347863" y="118505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347859" y="1430275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220071" y="118505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334589" y="2144820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3347858" y="2124804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250645" y="238043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220069" y="2124543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7164287" y="2124542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320770" y="3171469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334589" y="345523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347863" y="316197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347863" y="338918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3347859" y="3634405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5250650" y="3161977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5250650" y="3389186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7164286" y="3171469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7164286" y="3398678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320770" y="956905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HIV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320770" y="1184114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UPS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320766" y="1429333"/>
            <a:ext cx="792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STI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167959" y="2370834"/>
            <a:ext cx="1652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Country of origin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7164285" y="3634405"/>
            <a:ext cx="1652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prstClr val="black"/>
                </a:solidFill>
              </a:rPr>
              <a:t>Country of origin</a:t>
            </a:r>
            <a:endParaRPr lang="en-GB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181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0538"/>
            <a:ext cx="8229600" cy="857250"/>
          </a:xfrm>
        </p:spPr>
        <p:txBody>
          <a:bodyPr>
            <a:normAutofit fontScale="90000"/>
          </a:bodyPr>
          <a:lstStyle/>
          <a:p>
            <a:r>
              <a:rPr lang="en-GB" dirty="0"/>
              <a:t/>
            </a:r>
            <a:br>
              <a:rPr lang="en-GB" dirty="0"/>
            </a:br>
            <a:r>
              <a:rPr lang="en-GB" sz="3600" dirty="0"/>
              <a:t>T</a:t>
            </a:r>
            <a:r>
              <a:rPr lang="en-GB" sz="3600" dirty="0" smtClean="0"/>
              <a:t>esting patterns and outcomes in high-risk </a:t>
            </a:r>
            <a:r>
              <a:rPr lang="en-GB" sz="3600" dirty="0" err="1" smtClean="0"/>
              <a:t>vs</a:t>
            </a:r>
            <a:r>
              <a:rPr lang="en-GB" sz="3600" dirty="0" smtClean="0"/>
              <a:t> low-risk MSM (high risk</a:t>
            </a:r>
            <a:r>
              <a:rPr lang="en-GB" sz="3600" u="sng" dirty="0" smtClean="0"/>
              <a:t> &gt;</a:t>
            </a:r>
            <a:r>
              <a:rPr lang="en-GB" sz="3600" dirty="0" smtClean="0"/>
              <a:t>1 STI)</a:t>
            </a:r>
            <a:endParaRPr lang="en-GB" sz="36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045247"/>
              </p:ext>
            </p:extLst>
          </p:nvPr>
        </p:nvGraphicFramePr>
        <p:xfrm>
          <a:off x="395537" y="1221601"/>
          <a:ext cx="8496943" cy="27903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58061"/>
                <a:gridCol w="2765927"/>
                <a:gridCol w="2672955"/>
              </a:tblGrid>
              <a:tr h="200149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  <a:latin typeface="+mn-lt"/>
                        </a:rPr>
                        <a:t>High Risk (n=1003)</a:t>
                      </a:r>
                      <a:endParaRPr lang="en-GB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  <a:latin typeface="+mn-lt"/>
                        </a:rPr>
                        <a:t>Low risk (n=3412) </a:t>
                      </a:r>
                      <a:endParaRPr lang="en-GB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  <a:latin typeface="+mn-lt"/>
                        </a:rPr>
                        <a:t>Tested for HCV</a:t>
                      </a:r>
                      <a:endParaRPr lang="en-GB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n-lt"/>
                        </a:rPr>
                        <a:t>282 (28.3%)</a:t>
                      </a:r>
                      <a:endParaRPr lang="en-GB" sz="1200" b="0" i="0" u="none" strike="noStrike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n-lt"/>
                        </a:rPr>
                        <a:t>512 (15.1%)</a:t>
                      </a:r>
                      <a:endParaRPr lang="en-GB" sz="1200" b="0" i="0" u="none" strike="noStrike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  - HCV </a:t>
                      </a:r>
                      <a:r>
                        <a:rPr lang="en-GB" sz="1200" u="none" strike="noStrike" dirty="0" err="1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Ab</a:t>
                      </a:r>
                      <a:r>
                        <a:rPr lang="en-GB" sz="120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0 (3.5%)</a:t>
                      </a:r>
                      <a:endParaRPr lang="en-GB" sz="12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8 (1.6%)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  - HCV RNA+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7 (70%)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2 (33.3%)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  <a:latin typeface="+mn-lt"/>
                        </a:rPr>
                        <a:t>Tested for HBV</a:t>
                      </a:r>
                      <a:endParaRPr lang="en-GB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  <a:latin typeface="+mn-lt"/>
                        </a:rPr>
                        <a:t>545 (54.6%)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n-lt"/>
                        </a:rPr>
                        <a:t>1617 (47.5%)</a:t>
                      </a:r>
                      <a:endParaRPr lang="en-GB" sz="1200" b="0" i="0" u="none" strike="noStrike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   - </a:t>
                      </a:r>
                      <a:r>
                        <a:rPr lang="en-GB" sz="1200" u="none" strike="noStrike" dirty="0" err="1" smtClean="0">
                          <a:effectLst/>
                          <a:latin typeface="+mn-lt"/>
                        </a:rPr>
                        <a:t>HBsAg</a:t>
                      </a:r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+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n-lt"/>
                        </a:rPr>
                        <a:t>4 (0.7%)</a:t>
                      </a:r>
                      <a:endParaRPr lang="en-GB" sz="1200" b="0" i="0" u="none" strike="noStrike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n-lt"/>
                        </a:rPr>
                        <a:t>7 (0.4%)</a:t>
                      </a:r>
                      <a:endParaRPr lang="en-GB" sz="1200" b="0" i="0" u="none" strike="noStrike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  <a:latin typeface="+mn-lt"/>
                        </a:rPr>
                        <a:t>Tested for HIV</a:t>
                      </a:r>
                      <a:endParaRPr lang="en-GB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n-lt"/>
                        </a:rPr>
                        <a:t>672 (91.7%)</a:t>
                      </a:r>
                      <a:endParaRPr lang="en-GB" sz="1200" b="0" i="0" u="none" strike="noStrike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n-lt"/>
                        </a:rPr>
                        <a:t>2617 (87.1%)</a:t>
                      </a:r>
                      <a:endParaRPr lang="en-GB" sz="1200" b="0" i="0" u="none" strike="noStrike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   - HIV </a:t>
                      </a:r>
                      <a:r>
                        <a:rPr lang="en-GB" sz="1200" u="none" strike="noStrike" dirty="0" err="1" smtClean="0">
                          <a:effectLst/>
                          <a:latin typeface="+mn-lt"/>
                        </a:rPr>
                        <a:t>Ab</a:t>
                      </a:r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+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n-lt"/>
                        </a:rPr>
                        <a:t>23 (3.4%)</a:t>
                      </a:r>
                      <a:endParaRPr lang="en-GB" sz="1200" b="0" i="0" u="none" strike="noStrike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n-lt"/>
                        </a:rPr>
                        <a:t>25 (1%)</a:t>
                      </a:r>
                      <a:endParaRPr lang="en-GB" sz="1200" b="0" i="0" u="none" strike="noStrike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i="0" u="none" strike="noStrike" dirty="0" smtClean="0">
                          <a:effectLst/>
                          <a:latin typeface="+mn-lt"/>
                        </a:rPr>
                        <a:t>STI</a:t>
                      </a:r>
                      <a:r>
                        <a:rPr lang="en-GB" sz="1200" b="1" i="0" u="none" strike="noStrike" baseline="0" dirty="0" smtClean="0">
                          <a:effectLst/>
                          <a:latin typeface="+mn-lt"/>
                        </a:rPr>
                        <a:t> diagnoses</a:t>
                      </a:r>
                      <a:endParaRPr lang="en-GB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   - no </a:t>
                      </a:r>
                      <a:r>
                        <a:rPr lang="en-GB" sz="1200" u="none" strike="noStrike" dirty="0">
                          <a:effectLst/>
                          <a:latin typeface="+mn-lt"/>
                        </a:rPr>
                        <a:t>concomitant STIs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n-lt"/>
                        </a:rPr>
                        <a:t>0 (0.0%)</a:t>
                      </a:r>
                      <a:endParaRPr lang="en-GB" sz="1200" b="0" i="0" u="none" strike="noStrike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n-lt"/>
                        </a:rPr>
                        <a:t>3412 (100%)</a:t>
                      </a:r>
                      <a:endParaRPr lang="en-GB" sz="1200" b="0" i="0" u="none" strike="noStrike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   - 1-2 </a:t>
                      </a:r>
                      <a:r>
                        <a:rPr lang="en-GB" sz="1200" u="none" strike="noStrike" dirty="0">
                          <a:effectLst/>
                          <a:latin typeface="+mn-lt"/>
                        </a:rPr>
                        <a:t>concomitant STIs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  <a:latin typeface="+mn-lt"/>
                        </a:rPr>
                        <a:t>923 (92.0%)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  <a:latin typeface="+mn-lt"/>
                        </a:rPr>
                        <a:t>0 (0.0%)</a:t>
                      </a:r>
                      <a:endParaRPr lang="en-GB" sz="1200" b="0" i="0" u="none" strike="noStrike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   - 3</a:t>
                      </a:r>
                      <a:r>
                        <a:rPr lang="en-GB" sz="1200" u="none" strike="noStrike" dirty="0">
                          <a:effectLst/>
                          <a:latin typeface="+mn-lt"/>
                        </a:rPr>
                        <a:t>+ concomitant STIs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  <a:latin typeface="+mn-lt"/>
                        </a:rPr>
                        <a:t>80 (8.0%)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  <a:latin typeface="+mn-lt"/>
                        </a:rPr>
                        <a:t>0 (0.0%)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510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0261011"/>
              </p:ext>
            </p:extLst>
          </p:nvPr>
        </p:nvGraphicFramePr>
        <p:xfrm>
          <a:off x="395537" y="1221601"/>
          <a:ext cx="8496943" cy="27903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58061"/>
                <a:gridCol w="2765927"/>
                <a:gridCol w="2672955"/>
              </a:tblGrid>
              <a:tr h="200149"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HIV+ (n=727)</a:t>
                      </a:r>
                      <a:endParaRPr lang="en-GB" sz="12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HIV- (n=3485)</a:t>
                      </a:r>
                      <a:endParaRPr lang="en-GB" sz="12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  <a:latin typeface="+mn-lt"/>
                        </a:rPr>
                        <a:t>Tested for HCV</a:t>
                      </a:r>
                      <a:endParaRPr lang="en-GB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</a:rPr>
                        <a:t>198 (</a:t>
                      </a:r>
                      <a:r>
                        <a:rPr lang="en-GB" sz="1200" u="none" strike="noStrike" dirty="0">
                          <a:effectLst/>
                        </a:rPr>
                        <a:t>27.8%)</a:t>
                      </a:r>
                      <a:endParaRPr lang="en-GB" sz="1200" b="0" i="0" u="none" strike="noStrike" dirty="0">
                        <a:effectLst/>
                        <a:latin typeface="Calibri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</a:rPr>
                        <a:t>587 (16.9%)</a:t>
                      </a:r>
                      <a:endParaRPr lang="en-GB" sz="1200" b="0" i="0" u="none" strike="noStrike" dirty="0">
                        <a:effectLst/>
                        <a:latin typeface="Calibri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  - HCV </a:t>
                      </a:r>
                      <a:r>
                        <a:rPr lang="en-GB" sz="1200" u="none" strike="noStrike" dirty="0" err="1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Ab</a:t>
                      </a:r>
                      <a:r>
                        <a:rPr lang="en-GB" sz="120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+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12 (</a:t>
                      </a:r>
                      <a:r>
                        <a:rPr lang="en-GB" sz="12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6.1%)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6 (</a:t>
                      </a:r>
                      <a:r>
                        <a:rPr lang="en-GB" sz="12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.0%)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  - HCV RNA+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5 (50%)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4 (66.7%)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  <a:latin typeface="+mn-lt"/>
                        </a:rPr>
                        <a:t>Tested for HBV</a:t>
                      </a:r>
                      <a:endParaRPr lang="en-GB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</a:rPr>
                        <a:t>191 (</a:t>
                      </a:r>
                      <a:r>
                        <a:rPr lang="en-GB" sz="1200" u="none" strike="noStrike" dirty="0">
                          <a:effectLst/>
                        </a:rPr>
                        <a:t>26.5%)</a:t>
                      </a:r>
                      <a:endParaRPr lang="en-GB" sz="1200" b="0" i="0" u="none" strike="noStrike" dirty="0">
                        <a:effectLst/>
                        <a:latin typeface="Calibri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</a:rPr>
                        <a:t>1942 (</a:t>
                      </a:r>
                      <a:r>
                        <a:rPr lang="en-GB" sz="1200" u="none" strike="noStrike" dirty="0">
                          <a:effectLst/>
                        </a:rPr>
                        <a:t>55.8%)</a:t>
                      </a:r>
                      <a:endParaRPr lang="en-GB" sz="1200" b="0" i="0" u="none" strike="noStrike" dirty="0">
                        <a:effectLst/>
                        <a:latin typeface="Calibri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   - </a:t>
                      </a:r>
                      <a:r>
                        <a:rPr lang="en-GB" sz="1200" u="none" strike="noStrike" dirty="0" err="1" smtClean="0">
                          <a:effectLst/>
                          <a:latin typeface="+mn-lt"/>
                        </a:rPr>
                        <a:t>HBsAg</a:t>
                      </a:r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+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</a:rPr>
                        <a:t>6 (</a:t>
                      </a:r>
                      <a:r>
                        <a:rPr lang="en-GB" sz="1200" u="none" strike="noStrike" dirty="0">
                          <a:effectLst/>
                        </a:rPr>
                        <a:t>3.1%)</a:t>
                      </a:r>
                      <a:endParaRPr lang="en-GB" sz="1200" b="0" i="0" u="none" strike="noStrike" dirty="0">
                        <a:effectLst/>
                        <a:latin typeface="Calibri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</a:rPr>
                        <a:t>5 (</a:t>
                      </a:r>
                      <a:r>
                        <a:rPr lang="en-GB" sz="1200" u="none" strike="noStrike" dirty="0">
                          <a:effectLst/>
                        </a:rPr>
                        <a:t>0.3%)</a:t>
                      </a:r>
                      <a:endParaRPr lang="en-GB" sz="1200" b="0" i="0" u="none" strike="noStrike" dirty="0">
                        <a:effectLst/>
                        <a:latin typeface="Calibri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  <a:latin typeface="+mn-lt"/>
                        </a:rPr>
                        <a:t>Tested for HIV</a:t>
                      </a:r>
                      <a:endParaRPr lang="en-GB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N/A</a:t>
                      </a:r>
                      <a:endParaRPr lang="en-GB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N/A</a:t>
                      </a:r>
                      <a:endParaRPr lang="en-GB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   - HIV </a:t>
                      </a:r>
                      <a:r>
                        <a:rPr lang="en-GB" sz="1200" u="none" strike="noStrike" dirty="0" err="1" smtClean="0">
                          <a:effectLst/>
                          <a:latin typeface="+mn-lt"/>
                        </a:rPr>
                        <a:t>Ab</a:t>
                      </a:r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+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N/A</a:t>
                      </a:r>
                      <a:endParaRPr lang="en-GB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</a:rPr>
                        <a:t>N/A</a:t>
                      </a:r>
                      <a:endParaRPr lang="en-GB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i="0" u="none" strike="noStrike" dirty="0" smtClean="0">
                          <a:effectLst/>
                          <a:latin typeface="+mn-lt"/>
                        </a:rPr>
                        <a:t>STI</a:t>
                      </a:r>
                      <a:r>
                        <a:rPr lang="en-GB" sz="1200" b="1" i="0" u="none" strike="noStrike" baseline="0" dirty="0" smtClean="0">
                          <a:effectLst/>
                          <a:latin typeface="+mn-lt"/>
                        </a:rPr>
                        <a:t> diagnoses</a:t>
                      </a:r>
                      <a:endParaRPr lang="en-GB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GB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   - no </a:t>
                      </a:r>
                      <a:r>
                        <a:rPr lang="en-GB" sz="1200" u="none" strike="noStrike" dirty="0">
                          <a:effectLst/>
                          <a:latin typeface="+mn-lt"/>
                        </a:rPr>
                        <a:t>concomitant STIs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</a:rPr>
                        <a:t>434 (59.7%)</a:t>
                      </a:r>
                      <a:endParaRPr lang="en-GB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</a:rPr>
                        <a:t>2799 (80.3%)</a:t>
                      </a:r>
                      <a:endParaRPr lang="en-GB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   - 1-2 </a:t>
                      </a:r>
                      <a:r>
                        <a:rPr lang="en-GB" sz="1200" u="none" strike="noStrike" dirty="0">
                          <a:effectLst/>
                          <a:latin typeface="+mn-lt"/>
                        </a:rPr>
                        <a:t>concomitant STIs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</a:rPr>
                        <a:t>248 (34.1%)</a:t>
                      </a:r>
                      <a:endParaRPr lang="en-GB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651 (18.7%)</a:t>
                      </a:r>
                      <a:endParaRPr lang="en-GB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</a:tr>
              <a:tr h="235469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  <a:latin typeface="+mn-lt"/>
                        </a:rPr>
                        <a:t>   - 3</a:t>
                      </a:r>
                      <a:r>
                        <a:rPr lang="en-GB" sz="1200" u="none" strike="noStrike" dirty="0">
                          <a:effectLst/>
                          <a:latin typeface="+mn-lt"/>
                        </a:rPr>
                        <a:t>+ concomitant STIs</a:t>
                      </a:r>
                      <a:endParaRPr lang="en-GB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>
                          <a:effectLst/>
                        </a:rPr>
                        <a:t>45 (6.2%)</a:t>
                      </a:r>
                      <a:endParaRPr lang="en-GB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</a:rPr>
                        <a:t>35 (1.0%)</a:t>
                      </a:r>
                      <a:endParaRPr lang="en-GB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7144" marB="0" anchor="b"/>
                </a:tc>
              </a:tr>
            </a:tbl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/>
          <a:p>
            <a:r>
              <a:rPr lang="en-GB" dirty="0"/>
              <a:t>HIV positive </a:t>
            </a:r>
            <a:r>
              <a:rPr lang="en-GB" dirty="0" err="1"/>
              <a:t>vs</a:t>
            </a:r>
            <a:r>
              <a:rPr lang="en-GB" dirty="0"/>
              <a:t> HIV negative</a:t>
            </a:r>
          </a:p>
        </p:txBody>
      </p:sp>
    </p:spTree>
    <p:extLst>
      <p:ext uri="{BB962C8B-B14F-4D97-AF65-F5344CB8AC3E}">
        <p14:creationId xmlns:p14="http://schemas.microsoft.com/office/powerpoint/2010/main" val="2513503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clus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8363272" cy="3394472"/>
          </a:xfrm>
        </p:spPr>
        <p:txBody>
          <a:bodyPr>
            <a:normAutofit fontScale="92500" lnSpcReduction="20000"/>
          </a:bodyPr>
          <a:lstStyle/>
          <a:p>
            <a:r>
              <a:rPr lang="en-GB" sz="2800" dirty="0" smtClean="0"/>
              <a:t>MSM were less likely to be tested for HBV &amp; HCV than HIV</a:t>
            </a:r>
          </a:p>
          <a:p>
            <a:r>
              <a:rPr lang="en-GB" sz="2800" dirty="0" smtClean="0"/>
              <a:t>HCV prevalence was over 5x the national prevalence overall and 2.5x the national prevalence in HIV negative MSM</a:t>
            </a:r>
          </a:p>
          <a:p>
            <a:r>
              <a:rPr lang="en-GB" sz="2800" dirty="0" smtClean="0"/>
              <a:t>Prevalence of viral hepatitis was highest in HIV positive and in high-risk MSM</a:t>
            </a:r>
          </a:p>
          <a:p>
            <a:pPr lvl="0"/>
            <a:r>
              <a:rPr lang="en-GB" sz="2800" dirty="0"/>
              <a:t>Half of the </a:t>
            </a:r>
            <a:r>
              <a:rPr lang="en-GB" sz="2800" dirty="0" smtClean="0"/>
              <a:t>new HCV </a:t>
            </a:r>
            <a:r>
              <a:rPr lang="en-GB" sz="2800" dirty="0" err="1"/>
              <a:t>viraemic</a:t>
            </a:r>
            <a:r>
              <a:rPr lang="en-GB" sz="2800" dirty="0"/>
              <a:t> patients were HIV negative</a:t>
            </a:r>
          </a:p>
          <a:p>
            <a:r>
              <a:rPr lang="en-GB" sz="2800" dirty="0" smtClean="0"/>
              <a:t>Testing efforts should be increased</a:t>
            </a:r>
            <a:r>
              <a:rPr lang="en-GB" sz="2800" dirty="0"/>
              <a:t> </a:t>
            </a:r>
            <a:r>
              <a:rPr lang="en-GB" sz="2800" dirty="0" smtClean="0"/>
              <a:t>and we are currently redeveloping local guidelines</a:t>
            </a:r>
          </a:p>
        </p:txBody>
      </p:sp>
    </p:spTree>
    <p:extLst>
      <p:ext uri="{BB962C8B-B14F-4D97-AF65-F5344CB8AC3E}">
        <p14:creationId xmlns:p14="http://schemas.microsoft.com/office/powerpoint/2010/main" val="2369891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3915" y="205978"/>
            <a:ext cx="8567056" cy="857250"/>
          </a:xfrm>
        </p:spPr>
        <p:txBody>
          <a:bodyPr>
            <a:normAutofit/>
          </a:bodyPr>
          <a:lstStyle/>
          <a:p>
            <a:pPr algn="l"/>
            <a:r>
              <a:rPr lang="en-GB" sz="3200" b="1" dirty="0" smtClean="0">
                <a:latin typeface="+mn-lt"/>
              </a:rPr>
              <a:t>UK Guidelines HCV Testing = targeted testing </a:t>
            </a:r>
            <a:endParaRPr lang="en-GB" sz="3200" b="1" dirty="0"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20490" y="1151335"/>
            <a:ext cx="4040188" cy="479822"/>
          </a:xfrm>
        </p:spPr>
        <p:txBody>
          <a:bodyPr/>
          <a:lstStyle/>
          <a:p>
            <a:r>
              <a:rPr lang="en-GB" dirty="0" smtClean="0"/>
              <a:t>At-risk populations:</a:t>
            </a:r>
            <a:endParaRPr lang="en-GB" dirty="0">
              <a:latin typeface="+mn-lt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566060" y="1631156"/>
            <a:ext cx="4040188" cy="2963466"/>
          </a:xfrm>
        </p:spPr>
        <p:txBody>
          <a:bodyPr>
            <a:normAutofit/>
          </a:bodyPr>
          <a:lstStyle/>
          <a:p>
            <a:r>
              <a:rPr lang="en-GB" sz="2000" dirty="0" smtClean="0"/>
              <a:t>PWID (about 90% being tested</a:t>
            </a:r>
            <a:r>
              <a:rPr lang="en-GB" sz="2000" dirty="0">
                <a:solidFill>
                  <a:srgbClr val="FF0000"/>
                </a:solidFill>
              </a:rPr>
              <a:t> </a:t>
            </a:r>
            <a:r>
              <a:rPr lang="en-GB" sz="2000" baseline="30000" dirty="0" smtClean="0"/>
              <a:t>1</a:t>
            </a:r>
            <a:r>
              <a:rPr lang="en-GB" sz="2000" dirty="0" smtClean="0"/>
              <a:t>)</a:t>
            </a:r>
          </a:p>
          <a:p>
            <a:r>
              <a:rPr lang="en-GB" sz="2000" dirty="0" smtClean="0"/>
              <a:t>Prisons (8% of receptions tested within 30 days</a:t>
            </a:r>
            <a:r>
              <a:rPr lang="en-GB" sz="2000" baseline="30000" dirty="0" smtClean="0"/>
              <a:t>1</a:t>
            </a:r>
            <a:r>
              <a:rPr lang="en-GB" sz="2000" dirty="0" smtClean="0"/>
              <a:t>) </a:t>
            </a:r>
          </a:p>
          <a:p>
            <a:r>
              <a:rPr lang="en-GB" sz="2000" dirty="0" smtClean="0"/>
              <a:t>Immigration centres</a:t>
            </a:r>
          </a:p>
          <a:p>
            <a:r>
              <a:rPr lang="en-GB" sz="2000" dirty="0" smtClean="0"/>
              <a:t>‘Promote’ testing in GUM to high risk MSM</a:t>
            </a:r>
            <a:r>
              <a:rPr lang="en-GB" sz="2000" baseline="30000" dirty="0" smtClean="0"/>
              <a:t>2</a:t>
            </a:r>
            <a:endParaRPr lang="en-GB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251520" y="3937167"/>
            <a:ext cx="75264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en-GB" sz="1000" dirty="0" smtClean="0">
                <a:solidFill>
                  <a:prstClr val="black"/>
                </a:solidFill>
              </a:rPr>
              <a:t>Cosgrove P. Public health England Report: Hepatitis Epidemiology in the South East</a:t>
            </a:r>
          </a:p>
          <a:p>
            <a:pPr marL="342900" indent="-342900">
              <a:buFontTx/>
              <a:buAutoNum type="arabicPeriod"/>
            </a:pPr>
            <a:r>
              <a:rPr lang="en-GB" sz="1000" dirty="0" smtClean="0">
                <a:solidFill>
                  <a:prstClr val="black"/>
                </a:solidFill>
              </a:rPr>
              <a:t>Brook G et al. United Kingdom National Guidance on the management of the viral </a:t>
            </a:r>
            <a:r>
              <a:rPr lang="en-GB" sz="1000" dirty="0" err="1" smtClean="0">
                <a:solidFill>
                  <a:prstClr val="black"/>
                </a:solidFill>
              </a:rPr>
              <a:t>hepatitides</a:t>
            </a:r>
            <a:r>
              <a:rPr lang="en-GB" sz="1000" dirty="0" smtClean="0">
                <a:solidFill>
                  <a:prstClr val="black"/>
                </a:solidFill>
              </a:rPr>
              <a:t> A, B and C 2015. </a:t>
            </a:r>
            <a:r>
              <a:rPr lang="en-GB" sz="1000" dirty="0" err="1" smtClean="0">
                <a:solidFill>
                  <a:prstClr val="black"/>
                </a:solidFill>
              </a:rPr>
              <a:t>Int</a:t>
            </a:r>
            <a:r>
              <a:rPr lang="en-GB" sz="1000" dirty="0" smtClean="0">
                <a:solidFill>
                  <a:prstClr val="black"/>
                </a:solidFill>
              </a:rPr>
              <a:t> J STD AIDS. 2016 Jan</a:t>
            </a:r>
          </a:p>
          <a:p>
            <a:pPr marL="342900" indent="-342900">
              <a:buFontTx/>
              <a:buAutoNum type="arabicPeriod"/>
            </a:pPr>
            <a:endParaRPr lang="en-GB" sz="1600" dirty="0">
              <a:solidFill>
                <a:prstClr val="black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09522" y="1410365"/>
            <a:ext cx="3888432" cy="2524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82171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dirty="0" smtClean="0"/>
              <a:t>HCV in MSM</a:t>
            </a:r>
            <a:endParaRPr lang="en-GB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96" y="1013482"/>
            <a:ext cx="8229600" cy="3394472"/>
          </a:xfrm>
        </p:spPr>
        <p:txBody>
          <a:bodyPr>
            <a:normAutofit/>
          </a:bodyPr>
          <a:lstStyle/>
          <a:p>
            <a:r>
              <a:rPr lang="en-GB" sz="2000" dirty="0"/>
              <a:t>Data from the UK </a:t>
            </a:r>
            <a:r>
              <a:rPr lang="en-GB" sz="2000" dirty="0" smtClean="0"/>
              <a:t>CHIC Study </a:t>
            </a:r>
            <a:r>
              <a:rPr lang="en-GB" sz="2000" dirty="0"/>
              <a:t>showed a cumulative hepatitis C (HCV) prevalence of 8.9% in </a:t>
            </a:r>
            <a:r>
              <a:rPr lang="en-GB" sz="2000" dirty="0" smtClean="0"/>
              <a:t>HIV+ MSM</a:t>
            </a:r>
            <a:r>
              <a:rPr lang="en-GB" sz="2000" baseline="30000" dirty="0" smtClean="0"/>
              <a:t>1 </a:t>
            </a:r>
            <a:r>
              <a:rPr lang="en-GB" sz="2000" dirty="0" smtClean="0"/>
              <a:t>(1996-2007)</a:t>
            </a:r>
            <a:endParaRPr lang="en-GB" sz="2000" dirty="0"/>
          </a:p>
          <a:p>
            <a:r>
              <a:rPr lang="en-GB" sz="2000" dirty="0" smtClean="0">
                <a:solidFill>
                  <a:srgbClr val="000000"/>
                </a:solidFill>
              </a:rPr>
              <a:t>In the PROUD </a:t>
            </a:r>
            <a:r>
              <a:rPr lang="en-GB" sz="2000" dirty="0">
                <a:solidFill>
                  <a:srgbClr val="000000"/>
                </a:solidFill>
              </a:rPr>
              <a:t>pilot study </a:t>
            </a:r>
            <a:r>
              <a:rPr lang="en-GB" sz="2000" dirty="0" smtClean="0">
                <a:solidFill>
                  <a:srgbClr val="000000"/>
                </a:solidFill>
              </a:rPr>
              <a:t>, the HCV </a:t>
            </a:r>
            <a:r>
              <a:rPr lang="en-GB" sz="2000" dirty="0">
                <a:solidFill>
                  <a:srgbClr val="000000"/>
                </a:solidFill>
              </a:rPr>
              <a:t>incidence</a:t>
            </a:r>
            <a:r>
              <a:rPr lang="en-GB" sz="2000" i="1" dirty="0">
                <a:solidFill>
                  <a:srgbClr val="000000"/>
                </a:solidFill>
              </a:rPr>
              <a:t> </a:t>
            </a:r>
            <a:r>
              <a:rPr lang="en-GB" sz="2000" dirty="0" smtClean="0">
                <a:solidFill>
                  <a:srgbClr val="000000"/>
                </a:solidFill>
              </a:rPr>
              <a:t>in </a:t>
            </a:r>
            <a:r>
              <a:rPr lang="en-GB" sz="2000" dirty="0">
                <a:solidFill>
                  <a:srgbClr val="000000"/>
                </a:solidFill>
              </a:rPr>
              <a:t>high-risk, HIV negative </a:t>
            </a:r>
            <a:r>
              <a:rPr lang="en-GB" sz="2000" dirty="0" smtClean="0">
                <a:solidFill>
                  <a:srgbClr val="000000"/>
                </a:solidFill>
              </a:rPr>
              <a:t>MSM was 3.1%</a:t>
            </a:r>
            <a:r>
              <a:rPr lang="en-GB" sz="2000" baseline="30000" dirty="0" smtClean="0">
                <a:solidFill>
                  <a:srgbClr val="000000"/>
                </a:solidFill>
              </a:rPr>
              <a:t>2.</a:t>
            </a:r>
            <a:endParaRPr lang="en-GB" sz="2000" baseline="30000" dirty="0">
              <a:solidFill>
                <a:srgbClr val="000000"/>
              </a:solidFill>
            </a:endParaRPr>
          </a:p>
          <a:p>
            <a:r>
              <a:rPr lang="en-GB" sz="2000" dirty="0" smtClean="0"/>
              <a:t>Screening for HIV and HBV is recommended in MSM</a:t>
            </a:r>
          </a:p>
          <a:p>
            <a:r>
              <a:rPr lang="en-GB" sz="2000" dirty="0" smtClean="0"/>
              <a:t>HCV testing encouraged in HIV +</a:t>
            </a:r>
            <a:r>
              <a:rPr lang="en-GB" sz="2000" dirty="0" err="1" smtClean="0"/>
              <a:t>ve</a:t>
            </a:r>
            <a:r>
              <a:rPr lang="en-GB" sz="2000" dirty="0" smtClean="0"/>
              <a:t> MSM</a:t>
            </a:r>
          </a:p>
          <a:p>
            <a:r>
              <a:rPr lang="en-GB" sz="2000" dirty="0" smtClean="0"/>
              <a:t>We present data on BBV testing in MSM at 2 London </a:t>
            </a:r>
            <a:r>
              <a:rPr lang="en-GB" sz="2000" dirty="0"/>
              <a:t>G</a:t>
            </a:r>
            <a:r>
              <a:rPr lang="en-GB" sz="2000" dirty="0" smtClean="0"/>
              <a:t>UM clinics over 1 year</a:t>
            </a:r>
            <a:endParaRPr lang="en-GB" sz="2000" dirty="0"/>
          </a:p>
        </p:txBody>
      </p:sp>
      <p:sp>
        <p:nvSpPr>
          <p:cNvPr id="4" name="TextBox 3"/>
          <p:cNvSpPr txBox="1"/>
          <p:nvPr/>
        </p:nvSpPr>
        <p:spPr>
          <a:xfrm>
            <a:off x="755576" y="3867894"/>
            <a:ext cx="68407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1. Turner et al. The </a:t>
            </a:r>
            <a:r>
              <a:rPr lang="en-GB" sz="1000" dirty="0">
                <a:solidFill>
                  <a:prstClr val="black"/>
                </a:solidFill>
              </a:rPr>
              <a:t>prevalence of hepatitis C virus (HCV) infection in HIV-positive individuals in the UK - trends in HCV testing and the impact of HCV on HIV treatment outcomes</a:t>
            </a:r>
            <a:r>
              <a:rPr lang="en-GB" sz="1000" dirty="0" smtClean="0">
                <a:solidFill>
                  <a:prstClr val="black"/>
                </a:solidFill>
              </a:rPr>
              <a:t>. J Viral </a:t>
            </a:r>
            <a:r>
              <a:rPr lang="en-GB" sz="1000" dirty="0" err="1" smtClean="0">
                <a:solidFill>
                  <a:prstClr val="black"/>
                </a:solidFill>
              </a:rPr>
              <a:t>Hepat</a:t>
            </a:r>
            <a:r>
              <a:rPr lang="en-GB" sz="1000" dirty="0" smtClean="0">
                <a:solidFill>
                  <a:prstClr val="black"/>
                </a:solidFill>
              </a:rPr>
              <a:t>. 2010 Aug: 17(8):569-77</a:t>
            </a:r>
            <a:endParaRPr lang="en-GB" sz="1000" dirty="0">
              <a:solidFill>
                <a:prstClr val="black"/>
              </a:solidFill>
            </a:endParaRPr>
          </a:p>
          <a:p>
            <a:r>
              <a:rPr lang="en-GB" sz="1000" dirty="0" smtClean="0">
                <a:solidFill>
                  <a:prstClr val="black"/>
                </a:solidFill>
              </a:rPr>
              <a:t>2. McCormack et al. Pre-exposure prophylaxis to prevent the acquisition of HIV=1 infection (PROUD): effectiveness results from the pilot phase of a pragmatic open-label randomised trial. The Lancet 2016 Jan; 387(10013):53-60</a:t>
            </a:r>
            <a:endParaRPr lang="en-GB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043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 smtClean="0"/>
              <a:t>Methods</a:t>
            </a:r>
            <a:endParaRPr lang="en-GB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131590"/>
            <a:ext cx="8229600" cy="3394472"/>
          </a:xfrm>
        </p:spPr>
        <p:txBody>
          <a:bodyPr>
            <a:normAutofit fontScale="92500" lnSpcReduction="20000"/>
          </a:bodyPr>
          <a:lstStyle/>
          <a:p>
            <a:r>
              <a:rPr lang="en-GB" sz="2400" dirty="0" smtClean="0"/>
              <a:t>Collected retrospective data from electronic patient records</a:t>
            </a:r>
          </a:p>
          <a:p>
            <a:r>
              <a:rPr lang="en-GB" sz="2400" dirty="0" smtClean="0"/>
              <a:t>All MSM attendances 01/07/14 – 30/06/15</a:t>
            </a:r>
          </a:p>
          <a:p>
            <a:pPr lvl="1"/>
            <a:r>
              <a:rPr lang="en-GB" sz="2400" dirty="0" smtClean="0"/>
              <a:t>Demographics</a:t>
            </a:r>
          </a:p>
          <a:p>
            <a:pPr lvl="1"/>
            <a:r>
              <a:rPr lang="en-GB" sz="2400" dirty="0" smtClean="0"/>
              <a:t>Number of attendances</a:t>
            </a:r>
          </a:p>
          <a:p>
            <a:pPr lvl="1"/>
            <a:r>
              <a:rPr lang="en-GB" sz="2400" dirty="0" smtClean="0"/>
              <a:t>BBV testing</a:t>
            </a:r>
          </a:p>
          <a:p>
            <a:pPr lvl="1"/>
            <a:r>
              <a:rPr lang="en-GB" sz="2400" dirty="0" smtClean="0"/>
              <a:t>STI diagnoses</a:t>
            </a:r>
          </a:p>
          <a:p>
            <a:pPr lvl="1"/>
            <a:r>
              <a:rPr lang="en-GB" sz="2400" dirty="0" smtClean="0"/>
              <a:t>BBV diagnoses</a:t>
            </a:r>
          </a:p>
          <a:p>
            <a:r>
              <a:rPr lang="en-GB" sz="2400" dirty="0" smtClean="0"/>
              <a:t>Comparing: </a:t>
            </a:r>
          </a:p>
          <a:p>
            <a:pPr lvl="1"/>
            <a:r>
              <a:rPr lang="en-GB" sz="2400" dirty="0" smtClean="0"/>
              <a:t>High-risk </a:t>
            </a:r>
            <a:r>
              <a:rPr lang="en-GB" sz="2400" i="1" dirty="0" err="1" smtClean="0"/>
              <a:t>vs</a:t>
            </a:r>
            <a:r>
              <a:rPr lang="en-GB" sz="2400" i="1" dirty="0" smtClean="0"/>
              <a:t> </a:t>
            </a:r>
            <a:r>
              <a:rPr lang="en-GB" sz="2400" dirty="0" smtClean="0"/>
              <a:t>low risk MSM</a:t>
            </a:r>
          </a:p>
          <a:p>
            <a:pPr lvl="1"/>
            <a:r>
              <a:rPr lang="en-GB" sz="2400" dirty="0" smtClean="0"/>
              <a:t>HIV+ </a:t>
            </a:r>
            <a:r>
              <a:rPr lang="en-GB" sz="2400" i="1" dirty="0" err="1" smtClean="0"/>
              <a:t>vs</a:t>
            </a:r>
            <a:r>
              <a:rPr lang="en-GB" sz="2400" dirty="0" smtClean="0"/>
              <a:t> HIV– MSM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91603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 smtClean="0"/>
              <a:t>Results</a:t>
            </a:r>
            <a:endParaRPr lang="en-GB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987574"/>
            <a:ext cx="8229600" cy="3394472"/>
          </a:xfrm>
        </p:spPr>
        <p:txBody>
          <a:bodyPr>
            <a:normAutofit/>
          </a:bodyPr>
          <a:lstStyle/>
          <a:p>
            <a:r>
              <a:rPr lang="en-GB" sz="2200" dirty="0"/>
              <a:t>4,415 </a:t>
            </a:r>
            <a:r>
              <a:rPr lang="en-GB" sz="2200" dirty="0" smtClean="0"/>
              <a:t>MSM attended during 11,832 visits over one year</a:t>
            </a:r>
          </a:p>
          <a:p>
            <a:r>
              <a:rPr lang="en-GB" sz="2200" dirty="0" smtClean="0"/>
              <a:t>Median visits: 1 (IQR 1-3)</a:t>
            </a:r>
          </a:p>
          <a:p>
            <a:r>
              <a:rPr lang="en-GB" sz="2200" dirty="0" smtClean="0"/>
              <a:t>Median age: 34 (IQR 23-47)</a:t>
            </a:r>
            <a:endParaRPr lang="en-GB" sz="2200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3476899"/>
              </p:ext>
            </p:extLst>
          </p:nvPr>
        </p:nvGraphicFramePr>
        <p:xfrm>
          <a:off x="1691680" y="2355726"/>
          <a:ext cx="6336704" cy="2350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652120" y="2067694"/>
            <a:ext cx="11119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prstClr val="black"/>
                </a:solidFill>
              </a:rPr>
              <a:t>Visit Type</a:t>
            </a:r>
            <a:endParaRPr lang="en-GB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978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dirty="0" smtClean="0"/>
              <a:t>Demographics</a:t>
            </a:r>
            <a:endParaRPr lang="en-GB" sz="4000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3473224"/>
              </p:ext>
            </p:extLst>
          </p:nvPr>
        </p:nvGraphicFramePr>
        <p:xfrm>
          <a:off x="4008097" y="1188114"/>
          <a:ext cx="4986297" cy="3193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/>
          <p:cNvSpPr/>
          <p:nvPr/>
        </p:nvSpPr>
        <p:spPr>
          <a:xfrm>
            <a:off x="6444208" y="915566"/>
            <a:ext cx="10310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prstClr val="black"/>
                </a:solidFill>
              </a:rPr>
              <a:t>E</a:t>
            </a:r>
            <a:r>
              <a:rPr lang="en-GB" b="1" dirty="0" smtClean="0">
                <a:solidFill>
                  <a:prstClr val="black"/>
                </a:solidFill>
              </a:rPr>
              <a:t>thnicity</a:t>
            </a:r>
            <a:endParaRPr lang="en-GB" b="1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35696" y="915566"/>
            <a:ext cx="5501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 smtClean="0">
                <a:solidFill>
                  <a:prstClr val="black"/>
                </a:solidFill>
              </a:rPr>
              <a:t>Age</a:t>
            </a:r>
            <a:endParaRPr lang="en-GB" b="1" dirty="0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01" y="1347614"/>
            <a:ext cx="3954739" cy="2871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24450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TI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Overall 1,003 (23%) diagnosed with an STI</a:t>
            </a:r>
          </a:p>
          <a:p>
            <a:r>
              <a:rPr lang="en-GB" dirty="0"/>
              <a:t>Gonorrhoea 640 (14.5%)</a:t>
            </a:r>
          </a:p>
          <a:p>
            <a:r>
              <a:rPr lang="en-GB" dirty="0"/>
              <a:t>Chlamydia 398 (9.0%)</a:t>
            </a:r>
          </a:p>
          <a:p>
            <a:r>
              <a:rPr lang="en-GB" dirty="0"/>
              <a:t>Syphilis 159 (3.6%) </a:t>
            </a:r>
          </a:p>
        </p:txBody>
      </p:sp>
    </p:spTree>
    <p:extLst>
      <p:ext uri="{BB962C8B-B14F-4D97-AF65-F5344CB8AC3E}">
        <p14:creationId xmlns:p14="http://schemas.microsoft.com/office/powerpoint/2010/main" val="1830225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0538"/>
            <a:ext cx="8229600" cy="857250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BBV testing 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94317728"/>
              </p:ext>
            </p:extLst>
          </p:nvPr>
        </p:nvGraphicFramePr>
        <p:xfrm>
          <a:off x="457200" y="1610454"/>
          <a:ext cx="8147248" cy="176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6812"/>
                <a:gridCol w="2036812"/>
                <a:gridCol w="2036812"/>
                <a:gridCol w="2036812"/>
              </a:tblGrid>
              <a:tr h="274320"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HIV </a:t>
                      </a:r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Ab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HCV </a:t>
                      </a:r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Ab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HBV </a:t>
                      </a:r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Ab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80060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Tested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3,526 (94.4%)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794 (18.1%)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2,162 (49.1%) </a:t>
                      </a:r>
                      <a:endParaRPr lang="en-GB" sz="1400" dirty="0"/>
                    </a:p>
                  </a:txBody>
                  <a:tcPr marT="34290" marB="34290"/>
                </a:tc>
              </a:tr>
              <a:tr h="480060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Positive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48 (1.5%)</a:t>
                      </a:r>
                    </a:p>
                    <a:p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18 (2.3%)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11 (0.5%) (</a:t>
                      </a:r>
                      <a:r>
                        <a:rPr lang="en-GB" sz="1400" dirty="0" err="1" smtClean="0"/>
                        <a:t>sAg</a:t>
                      </a:r>
                      <a:r>
                        <a:rPr lang="en-GB" sz="1400" dirty="0" smtClean="0"/>
                        <a:t> +</a:t>
                      </a:r>
                      <a:r>
                        <a:rPr lang="en-GB" sz="1400" dirty="0" err="1" smtClean="0"/>
                        <a:t>ve</a:t>
                      </a:r>
                      <a:r>
                        <a:rPr lang="en-GB" sz="1400" dirty="0" smtClean="0"/>
                        <a:t>)</a:t>
                      </a:r>
                    </a:p>
                  </a:txBody>
                  <a:tcPr marT="34290" marB="34290"/>
                </a:tc>
              </a:tr>
              <a:tr h="480060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New diagnoses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48 (100%)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12 (67%)</a:t>
                      </a:r>
                    </a:p>
                    <a:p>
                      <a:r>
                        <a:rPr lang="en-GB" sz="1400" dirty="0" smtClean="0"/>
                        <a:t>8 (67%) </a:t>
                      </a:r>
                      <a:r>
                        <a:rPr lang="en-GB" sz="1400" dirty="0" err="1" smtClean="0"/>
                        <a:t>viraemic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4(36%)</a:t>
                      </a:r>
                    </a:p>
                  </a:txBody>
                  <a:tcPr marT="34290" marB="3429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8875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w HCV positives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539553" y="1185056"/>
            <a:ext cx="864096" cy="864096"/>
            <a:chOff x="4260284" y="418094"/>
            <a:chExt cx="2478084" cy="2890625"/>
          </a:xfrm>
        </p:grpSpPr>
        <p:pic>
          <p:nvPicPr>
            <p:cNvPr id="5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oup 21"/>
          <p:cNvGrpSpPr/>
          <p:nvPr/>
        </p:nvGrpSpPr>
        <p:grpSpPr>
          <a:xfrm>
            <a:off x="539553" y="2187363"/>
            <a:ext cx="864096" cy="864096"/>
            <a:chOff x="4260284" y="418094"/>
            <a:chExt cx="2478084" cy="2890625"/>
          </a:xfrm>
        </p:grpSpPr>
        <p:pic>
          <p:nvPicPr>
            <p:cNvPr id="23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Group 24"/>
          <p:cNvGrpSpPr/>
          <p:nvPr/>
        </p:nvGrpSpPr>
        <p:grpSpPr>
          <a:xfrm>
            <a:off x="527397" y="3219822"/>
            <a:ext cx="864096" cy="864096"/>
            <a:chOff x="4260284" y="418094"/>
            <a:chExt cx="2478084" cy="2890625"/>
          </a:xfrm>
        </p:grpSpPr>
        <p:pic>
          <p:nvPicPr>
            <p:cNvPr id="26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oup 27"/>
          <p:cNvGrpSpPr/>
          <p:nvPr/>
        </p:nvGrpSpPr>
        <p:grpSpPr>
          <a:xfrm>
            <a:off x="2555776" y="1142513"/>
            <a:ext cx="864096" cy="864096"/>
            <a:chOff x="4260284" y="418094"/>
            <a:chExt cx="2478084" cy="2890625"/>
          </a:xfrm>
        </p:grpSpPr>
        <p:pic>
          <p:nvPicPr>
            <p:cNvPr id="29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" name="Group 30"/>
          <p:cNvGrpSpPr/>
          <p:nvPr/>
        </p:nvGrpSpPr>
        <p:grpSpPr>
          <a:xfrm>
            <a:off x="2555776" y="2187363"/>
            <a:ext cx="864096" cy="864096"/>
            <a:chOff x="4260284" y="418094"/>
            <a:chExt cx="2478084" cy="2890625"/>
          </a:xfrm>
        </p:grpSpPr>
        <p:pic>
          <p:nvPicPr>
            <p:cNvPr id="32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 33"/>
          <p:cNvGrpSpPr/>
          <p:nvPr/>
        </p:nvGrpSpPr>
        <p:grpSpPr>
          <a:xfrm>
            <a:off x="2543620" y="3177279"/>
            <a:ext cx="864096" cy="864096"/>
            <a:chOff x="4260284" y="418094"/>
            <a:chExt cx="2478084" cy="2890625"/>
          </a:xfrm>
        </p:grpSpPr>
        <p:pic>
          <p:nvPicPr>
            <p:cNvPr id="35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6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/>
          <p:cNvGrpSpPr/>
          <p:nvPr/>
        </p:nvGrpSpPr>
        <p:grpSpPr>
          <a:xfrm>
            <a:off x="4499992" y="1142513"/>
            <a:ext cx="864096" cy="864096"/>
            <a:chOff x="4260284" y="418094"/>
            <a:chExt cx="2478084" cy="2890625"/>
          </a:xfrm>
        </p:grpSpPr>
        <p:pic>
          <p:nvPicPr>
            <p:cNvPr id="38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Group 39"/>
          <p:cNvGrpSpPr/>
          <p:nvPr/>
        </p:nvGrpSpPr>
        <p:grpSpPr>
          <a:xfrm>
            <a:off x="4487836" y="2144820"/>
            <a:ext cx="864096" cy="864096"/>
            <a:chOff x="4260284" y="418094"/>
            <a:chExt cx="2478084" cy="2890625"/>
          </a:xfrm>
        </p:grpSpPr>
        <p:pic>
          <p:nvPicPr>
            <p:cNvPr id="41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3" name="Group 42"/>
          <p:cNvGrpSpPr/>
          <p:nvPr/>
        </p:nvGrpSpPr>
        <p:grpSpPr>
          <a:xfrm>
            <a:off x="4487836" y="3177279"/>
            <a:ext cx="864096" cy="864096"/>
            <a:chOff x="4260284" y="418094"/>
            <a:chExt cx="2478084" cy="2890625"/>
          </a:xfrm>
        </p:grpSpPr>
        <p:pic>
          <p:nvPicPr>
            <p:cNvPr id="44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/>
          <p:cNvGrpSpPr/>
          <p:nvPr/>
        </p:nvGrpSpPr>
        <p:grpSpPr>
          <a:xfrm>
            <a:off x="6432052" y="1142513"/>
            <a:ext cx="864096" cy="864096"/>
            <a:chOff x="4260284" y="418094"/>
            <a:chExt cx="2478084" cy="2890625"/>
          </a:xfrm>
        </p:grpSpPr>
        <p:pic>
          <p:nvPicPr>
            <p:cNvPr id="47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8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>
            <a:off x="6432052" y="2144820"/>
            <a:ext cx="864096" cy="864096"/>
            <a:chOff x="4260284" y="418094"/>
            <a:chExt cx="2478084" cy="2890625"/>
          </a:xfrm>
        </p:grpSpPr>
        <p:pic>
          <p:nvPicPr>
            <p:cNvPr id="50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2" name="Group 51"/>
          <p:cNvGrpSpPr/>
          <p:nvPr/>
        </p:nvGrpSpPr>
        <p:grpSpPr>
          <a:xfrm>
            <a:off x="6432064" y="3219822"/>
            <a:ext cx="864096" cy="864096"/>
            <a:chOff x="4260284" y="418094"/>
            <a:chExt cx="2478084" cy="2890625"/>
          </a:xfrm>
        </p:grpSpPr>
        <p:pic>
          <p:nvPicPr>
            <p:cNvPr id="53" name="Picture 439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260284" y="418094"/>
              <a:ext cx="2478084" cy="2890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Picture 4" descr="http://t1.gstatic.com/images?q=tbn:ANd9GcQfHV1s7-1gtnJRG4lanON_5womLqsHeDiA47hr0lojNSslssyRtQajV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000" b="90000" l="10000" r="90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336969">
              <a:off x="5180674" y="1405113"/>
              <a:ext cx="567580" cy="631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77233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NHS_CF_LN9471">
  <a:themeElements>
    <a:clrScheme name="Current">
      <a:dk1>
        <a:srgbClr val="000000"/>
      </a:dk1>
      <a:lt1>
        <a:srgbClr val="FFFFFF"/>
      </a:lt1>
      <a:dk2>
        <a:srgbClr val="0371B9"/>
      </a:dk2>
      <a:lt2>
        <a:srgbClr val="FFFFFF"/>
      </a:lt2>
      <a:accent1>
        <a:srgbClr val="DBDECD"/>
      </a:accent1>
      <a:accent2>
        <a:srgbClr val="00B28C"/>
      </a:accent2>
      <a:accent3>
        <a:srgbClr val="0371B9"/>
      </a:accent3>
      <a:accent4>
        <a:srgbClr val="2D4B64"/>
      </a:accent4>
      <a:accent5>
        <a:srgbClr val="FF6600"/>
      </a:accent5>
      <a:accent6>
        <a:srgbClr val="808080"/>
      </a:accent6>
      <a:hlink>
        <a:srgbClr val="0371B9"/>
      </a:hlink>
      <a:folHlink>
        <a:srgbClr val="2D4B6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HS_CF_LN9471 1">
        <a:dk1>
          <a:srgbClr val="000000"/>
        </a:dk1>
        <a:lt1>
          <a:srgbClr val="FFFFFF"/>
        </a:lt1>
        <a:dk2>
          <a:srgbClr val="0371B9"/>
        </a:dk2>
        <a:lt2>
          <a:srgbClr val="FFFFFF"/>
        </a:lt2>
        <a:accent1>
          <a:srgbClr val="DBDECD"/>
        </a:accent1>
        <a:accent2>
          <a:srgbClr val="00B28C"/>
        </a:accent2>
        <a:accent3>
          <a:srgbClr val="FFFFFF"/>
        </a:accent3>
        <a:accent4>
          <a:srgbClr val="000000"/>
        </a:accent4>
        <a:accent5>
          <a:srgbClr val="EAECE3"/>
        </a:accent5>
        <a:accent6>
          <a:srgbClr val="00A17E"/>
        </a:accent6>
        <a:hlink>
          <a:srgbClr val="0371B9"/>
        </a:hlink>
        <a:folHlink>
          <a:srgbClr val="2D4B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itle slide">
  <a:themeElements>
    <a:clrScheme name="SpeeDx">
      <a:dk1>
        <a:srgbClr val="003D46"/>
      </a:dk1>
      <a:lt1>
        <a:sysClr val="window" lastClr="FFFFFF"/>
      </a:lt1>
      <a:dk2>
        <a:srgbClr val="1F497D"/>
      </a:dk2>
      <a:lt2>
        <a:srgbClr val="EEECE1"/>
      </a:lt2>
      <a:accent1>
        <a:srgbClr val="EC1C29"/>
      </a:accent1>
      <a:accent2>
        <a:srgbClr val="7F7F7F"/>
      </a:accent2>
      <a:accent3>
        <a:srgbClr val="009187"/>
      </a:accent3>
      <a:accent4>
        <a:srgbClr val="8064A2"/>
      </a:accent4>
      <a:accent5>
        <a:srgbClr val="B1DFDF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Body 1">
  <a:themeElements>
    <a:clrScheme name="SpeeDx">
      <a:dk1>
        <a:srgbClr val="003D46"/>
      </a:dk1>
      <a:lt1>
        <a:sysClr val="window" lastClr="FFFFFF"/>
      </a:lt1>
      <a:dk2>
        <a:srgbClr val="1F497D"/>
      </a:dk2>
      <a:lt2>
        <a:srgbClr val="EEECE1"/>
      </a:lt2>
      <a:accent1>
        <a:srgbClr val="EC1C29"/>
      </a:accent1>
      <a:accent2>
        <a:srgbClr val="7F7F7F"/>
      </a:accent2>
      <a:accent3>
        <a:srgbClr val="009187"/>
      </a:accent3>
      <a:accent4>
        <a:srgbClr val="B1DFDF"/>
      </a:accent4>
      <a:accent5>
        <a:srgbClr val="080808"/>
      </a:accent5>
      <a:accent6>
        <a:srgbClr val="0000F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1</TotalTime>
  <Words>920</Words>
  <Application>Microsoft Office PowerPoint</Application>
  <PresentationFormat>On-screen Show (16:9)</PresentationFormat>
  <Paragraphs>239</Paragraphs>
  <Slides>19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Custom Design</vt:lpstr>
      <vt:lpstr>6_Custom Design</vt:lpstr>
      <vt:lpstr>NHS_CF_LN9471</vt:lpstr>
      <vt:lpstr>6_Office Theme</vt:lpstr>
      <vt:lpstr>Title slide</vt:lpstr>
      <vt:lpstr>Body 1</vt:lpstr>
      <vt:lpstr>think-cell Slide</vt:lpstr>
      <vt:lpstr>Low proportion of MSM tested for hepatitis C despite high prevalence in the tested population </vt:lpstr>
      <vt:lpstr>UK Guidelines HCV Testing = targeted testing </vt:lpstr>
      <vt:lpstr>HCV in MSM</vt:lpstr>
      <vt:lpstr>Methods</vt:lpstr>
      <vt:lpstr>Results</vt:lpstr>
      <vt:lpstr>Demographics</vt:lpstr>
      <vt:lpstr>STIs</vt:lpstr>
      <vt:lpstr> BBV testing </vt:lpstr>
      <vt:lpstr>New HCV positives</vt:lpstr>
      <vt:lpstr>New HCV positives</vt:lpstr>
      <vt:lpstr>New HCV positives</vt:lpstr>
      <vt:lpstr>New HCV positives</vt:lpstr>
      <vt:lpstr>New HCV positives</vt:lpstr>
      <vt:lpstr>New HCV positives</vt:lpstr>
      <vt:lpstr>New HCV positives</vt:lpstr>
      <vt:lpstr>New HCV positives</vt:lpstr>
      <vt:lpstr> Testing patterns and outcomes in high-risk vs low-risk MSM (high risk &gt;1 STI)</vt:lpstr>
      <vt:lpstr>HIV positive vs HIV negative</vt:lpstr>
      <vt:lpstr>Conclusions</vt:lpstr>
    </vt:vector>
  </TitlesOfParts>
  <Company>Kingston Smi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i Bond Gunning</dc:creator>
  <cp:lastModifiedBy>Startech</cp:lastModifiedBy>
  <cp:revision>57</cp:revision>
  <dcterms:created xsi:type="dcterms:W3CDTF">2015-05-13T13:06:46Z</dcterms:created>
  <dcterms:modified xsi:type="dcterms:W3CDTF">2016-07-11T15:47:03Z</dcterms:modified>
</cp:coreProperties>
</file>